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4"/>
    <p:sldMasterId id="2147483648" r:id="rId5"/>
  </p:sldMasterIdLst>
  <p:notesMasterIdLst>
    <p:notesMasterId r:id="rId15"/>
  </p:notesMasterIdLst>
  <p:handoutMasterIdLst>
    <p:handoutMasterId r:id="rId16"/>
  </p:handoutMasterIdLst>
  <p:sldIdLst>
    <p:sldId id="339" r:id="rId6"/>
    <p:sldId id="364" r:id="rId7"/>
    <p:sldId id="375" r:id="rId8"/>
    <p:sldId id="1499" r:id="rId9"/>
    <p:sldId id="422" r:id="rId10"/>
    <p:sldId id="418" r:id="rId11"/>
    <p:sldId id="421" r:id="rId12"/>
    <p:sldId id="390" r:id="rId13"/>
    <p:sldId id="1500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4E70DBAA-C5BA-4FE6-8D34-27AA822644FA}">
          <p14:sldIdLst>
            <p14:sldId id="339"/>
          </p14:sldIdLst>
        </p14:section>
        <p14:section name="Content" id="{603CE765-379D-438B-BCD5-56C126B5C44D}">
          <p14:sldIdLst>
            <p14:sldId id="364"/>
            <p14:sldId id="375"/>
            <p14:sldId id="1499"/>
            <p14:sldId id="422"/>
            <p14:sldId id="418"/>
            <p14:sldId id="421"/>
            <p14:sldId id="390"/>
            <p14:sldId id="1500"/>
          </p14:sldIdLst>
        </p14:section>
        <p14:section name="Appendix" id="{7A408ECD-FF75-4548-AF34-974F69EE1B4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attinger Stephan" initials="FS" lastIdx="5" clrIdx="0"/>
  <p:cmAuthor id="2" name="123" initials="1" lastIdx="1" clrIdx="1"/>
  <p:cmAuthor id="3" name="Flattinger Stephan" initials="FS [2]" lastIdx="1" clrIdx="2"/>
  <p:cmAuthor id="4" name="Felix Kruse" initials="FK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62F"/>
    <a:srgbClr val="838383"/>
    <a:srgbClr val="0A3C6D"/>
    <a:srgbClr val="5C666C"/>
    <a:srgbClr val="0E5BA6"/>
    <a:srgbClr val="0E5BA5"/>
    <a:srgbClr val="71B2F2"/>
    <a:srgbClr val="BDDBF2"/>
    <a:srgbClr val="72B2F3"/>
    <a:srgbClr val="BDDB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015EF8-544F-4E61-AA94-49D2030D7263}" v="12" dt="2021-03-01T12:49:24.356"/>
    <p1510:client id="{695E6362-CA9E-4E55-94C1-2F2C59C86B63}" v="821" dt="2021-03-01T14:00:48.005"/>
    <p1510:client id="{6C8A582D-7400-46A1-AEF7-5779C53F8DEF}" v="1038" dt="2021-03-01T13:09:04.5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enzo Pigozzi" userId="d2dd6adb-d6c5-40e2-988b-f8d78eb1005e" providerId="ADAL" clId="{6C8A582D-7400-46A1-AEF7-5779C53F8DEF}"/>
    <pc:docChg chg="undo custSel modSld sldOrd">
      <pc:chgData name="Lorenzo Pigozzi" userId="d2dd6adb-d6c5-40e2-988b-f8d78eb1005e" providerId="ADAL" clId="{6C8A582D-7400-46A1-AEF7-5779C53F8DEF}" dt="2021-03-01T13:09:04.581" v="1335" actId="478"/>
      <pc:docMkLst>
        <pc:docMk/>
      </pc:docMkLst>
      <pc:sldChg chg="addSp delSp modSp mod chgLayout">
        <pc:chgData name="Lorenzo Pigozzi" userId="d2dd6adb-d6c5-40e2-988b-f8d78eb1005e" providerId="ADAL" clId="{6C8A582D-7400-46A1-AEF7-5779C53F8DEF}" dt="2021-03-01T12:43:01.126" v="1325" actId="478"/>
        <pc:sldMkLst>
          <pc:docMk/>
          <pc:sldMk cId="3531281810" sldId="339"/>
        </pc:sldMkLst>
        <pc:spChg chg="add del mod ord">
          <ac:chgData name="Lorenzo Pigozzi" userId="d2dd6adb-d6c5-40e2-988b-f8d78eb1005e" providerId="ADAL" clId="{6C8A582D-7400-46A1-AEF7-5779C53F8DEF}" dt="2021-03-01T12:43:01.126" v="1325" actId="478"/>
          <ac:spMkLst>
            <pc:docMk/>
            <pc:sldMk cId="3531281810" sldId="339"/>
            <ac:spMk id="2" creationId="{35D88739-8C67-4C9A-8FEC-AD83C3329594}"/>
          </ac:spMkLst>
        </pc:spChg>
        <pc:spChg chg="add del mod">
          <ac:chgData name="Lorenzo Pigozzi" userId="d2dd6adb-d6c5-40e2-988b-f8d78eb1005e" providerId="ADAL" clId="{6C8A582D-7400-46A1-AEF7-5779C53F8DEF}" dt="2021-02-28T19:38:22.451" v="849" actId="767"/>
          <ac:spMkLst>
            <pc:docMk/>
            <pc:sldMk cId="3531281810" sldId="339"/>
            <ac:spMk id="2" creationId="{3C0FD841-66A5-4BE5-96CF-0C26CA51A331}"/>
          </ac:spMkLst>
        </pc:spChg>
        <pc:spChg chg="add del mod ord">
          <ac:chgData name="Lorenzo Pigozzi" userId="d2dd6adb-d6c5-40e2-988b-f8d78eb1005e" providerId="ADAL" clId="{6C8A582D-7400-46A1-AEF7-5779C53F8DEF}" dt="2021-02-28T20:32:40.789" v="1054" actId="6264"/>
          <ac:spMkLst>
            <pc:docMk/>
            <pc:sldMk cId="3531281810" sldId="339"/>
            <ac:spMk id="3" creationId="{0761A017-5118-4E54-8832-B30323F23732}"/>
          </ac:spMkLst>
        </pc:spChg>
        <pc:spChg chg="add del mod ord">
          <ac:chgData name="Lorenzo Pigozzi" userId="d2dd6adb-d6c5-40e2-988b-f8d78eb1005e" providerId="ADAL" clId="{6C8A582D-7400-46A1-AEF7-5779C53F8DEF}" dt="2021-02-28T20:33:01.894" v="1056" actId="6264"/>
          <ac:spMkLst>
            <pc:docMk/>
            <pc:sldMk cId="3531281810" sldId="339"/>
            <ac:spMk id="5" creationId="{3BDF46C2-2140-4971-AA33-CB82C0846D49}"/>
          </ac:spMkLst>
        </pc:spChg>
      </pc:sldChg>
      <pc:sldChg chg="modSp mod">
        <pc:chgData name="Lorenzo Pigozzi" userId="d2dd6adb-d6c5-40e2-988b-f8d78eb1005e" providerId="ADAL" clId="{6C8A582D-7400-46A1-AEF7-5779C53F8DEF}" dt="2021-03-01T12:08:09.564" v="1320" actId="20577"/>
        <pc:sldMkLst>
          <pc:docMk/>
          <pc:sldMk cId="1396948049" sldId="364"/>
        </pc:sldMkLst>
        <pc:spChg chg="mod">
          <ac:chgData name="Lorenzo Pigozzi" userId="d2dd6adb-d6c5-40e2-988b-f8d78eb1005e" providerId="ADAL" clId="{6C8A582D-7400-46A1-AEF7-5779C53F8DEF}" dt="2021-03-01T12:08:09.564" v="1320" actId="20577"/>
          <ac:spMkLst>
            <pc:docMk/>
            <pc:sldMk cId="1396948049" sldId="364"/>
            <ac:spMk id="2" creationId="{777FA272-81FF-4343-9258-0AAF03644D0D}"/>
          </ac:spMkLst>
        </pc:spChg>
        <pc:spChg chg="mod">
          <ac:chgData name="Lorenzo Pigozzi" userId="d2dd6adb-d6c5-40e2-988b-f8d78eb1005e" providerId="ADAL" clId="{6C8A582D-7400-46A1-AEF7-5779C53F8DEF}" dt="2021-02-28T19:44:05.809" v="854" actId="255"/>
          <ac:spMkLst>
            <pc:docMk/>
            <pc:sldMk cId="1396948049" sldId="364"/>
            <ac:spMk id="4" creationId="{4DE935CE-2452-A541-AB13-114D03968CA1}"/>
          </ac:spMkLst>
        </pc:spChg>
      </pc:sldChg>
      <pc:sldChg chg="modSp">
        <pc:chgData name="Lorenzo Pigozzi" userId="d2dd6adb-d6c5-40e2-988b-f8d78eb1005e" providerId="ADAL" clId="{6C8A582D-7400-46A1-AEF7-5779C53F8DEF}" dt="2021-02-28T19:42:40.780" v="852" actId="255"/>
        <pc:sldMkLst>
          <pc:docMk/>
          <pc:sldMk cId="2388466474" sldId="375"/>
        </pc:sldMkLst>
        <pc:graphicFrameChg chg="mod">
          <ac:chgData name="Lorenzo Pigozzi" userId="d2dd6adb-d6c5-40e2-988b-f8d78eb1005e" providerId="ADAL" clId="{6C8A582D-7400-46A1-AEF7-5779C53F8DEF}" dt="2021-02-28T19:42:40.780" v="852" actId="255"/>
          <ac:graphicFrameMkLst>
            <pc:docMk/>
            <pc:sldMk cId="2388466474" sldId="375"/>
            <ac:graphicFrameMk id="5" creationId="{159B26BE-25EB-4964-90DB-0573023F4A5E}"/>
          </ac:graphicFrameMkLst>
        </pc:graphicFrameChg>
      </pc:sldChg>
      <pc:sldChg chg="addSp delSp modSp mod">
        <pc:chgData name="Lorenzo Pigozzi" userId="d2dd6adb-d6c5-40e2-988b-f8d78eb1005e" providerId="ADAL" clId="{6C8A582D-7400-46A1-AEF7-5779C53F8DEF}" dt="2021-03-01T12:42:47.677" v="1324" actId="478"/>
        <pc:sldMkLst>
          <pc:docMk/>
          <pc:sldMk cId="247722515" sldId="390"/>
        </pc:sldMkLst>
        <pc:spChg chg="mod">
          <ac:chgData name="Lorenzo Pigozzi" userId="d2dd6adb-d6c5-40e2-988b-f8d78eb1005e" providerId="ADAL" clId="{6C8A582D-7400-46A1-AEF7-5779C53F8DEF}" dt="2021-03-01T12:04:41.802" v="1236" actId="20577"/>
          <ac:spMkLst>
            <pc:docMk/>
            <pc:sldMk cId="247722515" sldId="390"/>
            <ac:spMk id="2" creationId="{777FA272-81FF-4343-9258-0AAF03644D0D}"/>
          </ac:spMkLst>
        </pc:spChg>
        <pc:spChg chg="mod">
          <ac:chgData name="Lorenzo Pigozzi" userId="d2dd6adb-d6c5-40e2-988b-f8d78eb1005e" providerId="ADAL" clId="{6C8A582D-7400-46A1-AEF7-5779C53F8DEF}" dt="2021-03-01T12:04:26.576" v="1235" actId="20577"/>
          <ac:spMkLst>
            <pc:docMk/>
            <pc:sldMk cId="247722515" sldId="390"/>
            <ac:spMk id="4" creationId="{4DE935CE-2452-A541-AB13-114D03968CA1}"/>
          </ac:spMkLst>
        </pc:spChg>
        <pc:spChg chg="del">
          <ac:chgData name="Lorenzo Pigozzi" userId="d2dd6adb-d6c5-40e2-988b-f8d78eb1005e" providerId="ADAL" clId="{6C8A582D-7400-46A1-AEF7-5779C53F8DEF}" dt="2021-03-01T12:04:55.602" v="1241" actId="478"/>
          <ac:spMkLst>
            <pc:docMk/>
            <pc:sldMk cId="247722515" sldId="390"/>
            <ac:spMk id="7" creationId="{8D1F534D-A831-BF4D-B321-151FCE1C1C77}"/>
          </ac:spMkLst>
        </pc:spChg>
        <pc:spChg chg="del">
          <ac:chgData name="Lorenzo Pigozzi" userId="d2dd6adb-d6c5-40e2-988b-f8d78eb1005e" providerId="ADAL" clId="{6C8A582D-7400-46A1-AEF7-5779C53F8DEF}" dt="2021-03-01T12:04:52.591" v="1240" actId="478"/>
          <ac:spMkLst>
            <pc:docMk/>
            <pc:sldMk cId="247722515" sldId="390"/>
            <ac:spMk id="12" creationId="{DC70C749-C3C8-764C-A489-7F64096B8D1A}"/>
          </ac:spMkLst>
        </pc:spChg>
        <pc:spChg chg="del mod">
          <ac:chgData name="Lorenzo Pigozzi" userId="d2dd6adb-d6c5-40e2-988b-f8d78eb1005e" providerId="ADAL" clId="{6C8A582D-7400-46A1-AEF7-5779C53F8DEF}" dt="2021-03-01T12:04:49.891" v="1239" actId="478"/>
          <ac:spMkLst>
            <pc:docMk/>
            <pc:sldMk cId="247722515" sldId="390"/>
            <ac:spMk id="13" creationId="{D546FF8D-5951-504F-8101-8544A4A354F1}"/>
          </ac:spMkLst>
        </pc:spChg>
        <pc:spChg chg="del">
          <ac:chgData name="Lorenzo Pigozzi" userId="d2dd6adb-d6c5-40e2-988b-f8d78eb1005e" providerId="ADAL" clId="{6C8A582D-7400-46A1-AEF7-5779C53F8DEF}" dt="2021-03-01T12:04:46.302" v="1237" actId="478"/>
          <ac:spMkLst>
            <pc:docMk/>
            <pc:sldMk cId="247722515" sldId="390"/>
            <ac:spMk id="14" creationId="{08F0EC82-3D23-0343-A382-15524CB84AEA}"/>
          </ac:spMkLst>
        </pc:spChg>
        <pc:graphicFrameChg chg="add del mod">
          <ac:chgData name="Lorenzo Pigozzi" userId="d2dd6adb-d6c5-40e2-988b-f8d78eb1005e" providerId="ADAL" clId="{6C8A582D-7400-46A1-AEF7-5779C53F8DEF}" dt="2021-03-01T12:42:47.677" v="1324" actId="478"/>
          <ac:graphicFrameMkLst>
            <pc:docMk/>
            <pc:sldMk cId="247722515" sldId="390"/>
            <ac:graphicFrameMk id="5" creationId="{E0965AF4-6ABE-4F9F-8985-28A35E50437E}"/>
          </ac:graphicFrameMkLst>
        </pc:graphicFrameChg>
      </pc:sldChg>
      <pc:sldChg chg="addSp delSp modSp mod ord">
        <pc:chgData name="Lorenzo Pigozzi" userId="d2dd6adb-d6c5-40e2-988b-f8d78eb1005e" providerId="ADAL" clId="{6C8A582D-7400-46A1-AEF7-5779C53F8DEF}" dt="2021-03-01T13:09:04.581" v="1335" actId="478"/>
        <pc:sldMkLst>
          <pc:docMk/>
          <pc:sldMk cId="1375137510" sldId="414"/>
        </pc:sldMkLst>
        <pc:spChg chg="mod">
          <ac:chgData name="Lorenzo Pigozzi" userId="d2dd6adb-d6c5-40e2-988b-f8d78eb1005e" providerId="ADAL" clId="{6C8A582D-7400-46A1-AEF7-5779C53F8DEF}" dt="2021-02-28T19:46:15.373" v="877" actId="20577"/>
          <ac:spMkLst>
            <pc:docMk/>
            <pc:sldMk cId="1375137510" sldId="414"/>
            <ac:spMk id="4" creationId="{BB2C13D2-A34C-48A5-A259-637922E42C28}"/>
          </ac:spMkLst>
        </pc:spChg>
        <pc:spChg chg="add mod">
          <ac:chgData name="Lorenzo Pigozzi" userId="d2dd6adb-d6c5-40e2-988b-f8d78eb1005e" providerId="ADAL" clId="{6C8A582D-7400-46A1-AEF7-5779C53F8DEF}" dt="2021-02-28T20:48:09.192" v="1062"/>
          <ac:spMkLst>
            <pc:docMk/>
            <pc:sldMk cId="1375137510" sldId="414"/>
            <ac:spMk id="7" creationId="{52135ABB-A09B-4CA6-B45A-D922411A1273}"/>
          </ac:spMkLst>
        </pc:spChg>
        <pc:spChg chg="add mod">
          <ac:chgData name="Lorenzo Pigozzi" userId="d2dd6adb-d6c5-40e2-988b-f8d78eb1005e" providerId="ADAL" clId="{6C8A582D-7400-46A1-AEF7-5779C53F8DEF}" dt="2021-02-28T20:48:22.288" v="1073" actId="20577"/>
          <ac:spMkLst>
            <pc:docMk/>
            <pc:sldMk cId="1375137510" sldId="414"/>
            <ac:spMk id="8" creationId="{735A2B41-1DF7-4423-95F3-C3EEBE35E9A0}"/>
          </ac:spMkLst>
        </pc:spChg>
        <pc:spChg chg="add del mod">
          <ac:chgData name="Lorenzo Pigozzi" userId="d2dd6adb-d6c5-40e2-988b-f8d78eb1005e" providerId="ADAL" clId="{6C8A582D-7400-46A1-AEF7-5779C53F8DEF}" dt="2021-02-28T20:50:29.821" v="1131" actId="478"/>
          <ac:spMkLst>
            <pc:docMk/>
            <pc:sldMk cId="1375137510" sldId="414"/>
            <ac:spMk id="9" creationId="{B8A7EF07-C080-44BC-BB0F-43DE8B65E869}"/>
          </ac:spMkLst>
        </pc:spChg>
        <pc:spChg chg="add del mod">
          <ac:chgData name="Lorenzo Pigozzi" userId="d2dd6adb-d6c5-40e2-988b-f8d78eb1005e" providerId="ADAL" clId="{6C8A582D-7400-46A1-AEF7-5779C53F8DEF}" dt="2021-02-28T20:50:27.920" v="1130" actId="478"/>
          <ac:spMkLst>
            <pc:docMk/>
            <pc:sldMk cId="1375137510" sldId="414"/>
            <ac:spMk id="10" creationId="{0305605E-97A7-42D0-8336-6FCAF6CC08B6}"/>
          </ac:spMkLst>
        </pc:spChg>
        <pc:spChg chg="add mod">
          <ac:chgData name="Lorenzo Pigozzi" userId="d2dd6adb-d6c5-40e2-988b-f8d78eb1005e" providerId="ADAL" clId="{6C8A582D-7400-46A1-AEF7-5779C53F8DEF}" dt="2021-02-28T20:52:53.133" v="1183" actId="1076"/>
          <ac:spMkLst>
            <pc:docMk/>
            <pc:sldMk cId="1375137510" sldId="414"/>
            <ac:spMk id="11" creationId="{8021DDE9-361B-4C9C-B486-7E72D628DAC9}"/>
          </ac:spMkLst>
        </pc:spChg>
        <pc:spChg chg="add mod">
          <ac:chgData name="Lorenzo Pigozzi" userId="d2dd6adb-d6c5-40e2-988b-f8d78eb1005e" providerId="ADAL" clId="{6C8A582D-7400-46A1-AEF7-5779C53F8DEF}" dt="2021-02-28T20:53:11.854" v="1186" actId="1076"/>
          <ac:spMkLst>
            <pc:docMk/>
            <pc:sldMk cId="1375137510" sldId="414"/>
            <ac:spMk id="12" creationId="{68E0EBCC-D9EB-4F83-9699-FB88AB516F7E}"/>
          </ac:spMkLst>
        </pc:spChg>
        <pc:spChg chg="add mod">
          <ac:chgData name="Lorenzo Pigozzi" userId="d2dd6adb-d6c5-40e2-988b-f8d78eb1005e" providerId="ADAL" clId="{6C8A582D-7400-46A1-AEF7-5779C53F8DEF}" dt="2021-02-28T20:52:47.608" v="1182" actId="1076"/>
          <ac:spMkLst>
            <pc:docMk/>
            <pc:sldMk cId="1375137510" sldId="414"/>
            <ac:spMk id="13" creationId="{9A0A375C-A0C1-49B7-8E3C-BB3F71CFC925}"/>
          </ac:spMkLst>
        </pc:spChg>
        <pc:spChg chg="add mod">
          <ac:chgData name="Lorenzo Pigozzi" userId="d2dd6adb-d6c5-40e2-988b-f8d78eb1005e" providerId="ADAL" clId="{6C8A582D-7400-46A1-AEF7-5779C53F8DEF}" dt="2021-02-28T21:02:59.108" v="1208" actId="1076"/>
          <ac:spMkLst>
            <pc:docMk/>
            <pc:sldMk cId="1375137510" sldId="414"/>
            <ac:spMk id="17" creationId="{223E2A4A-A215-4DF4-9F51-08D4A077A5E8}"/>
          </ac:spMkLst>
        </pc:spChg>
        <pc:spChg chg="add del">
          <ac:chgData name="Lorenzo Pigozzi" userId="d2dd6adb-d6c5-40e2-988b-f8d78eb1005e" providerId="ADAL" clId="{6C8A582D-7400-46A1-AEF7-5779C53F8DEF}" dt="2021-02-28T21:01:44.624" v="1195" actId="478"/>
          <ac:spMkLst>
            <pc:docMk/>
            <pc:sldMk cId="1375137510" sldId="414"/>
            <ac:spMk id="18" creationId="{295E40F3-093B-46DD-8055-536AFC88A8B6}"/>
          </ac:spMkLst>
        </pc:spChg>
        <pc:spChg chg="add mod">
          <ac:chgData name="Lorenzo Pigozzi" userId="d2dd6adb-d6c5-40e2-988b-f8d78eb1005e" providerId="ADAL" clId="{6C8A582D-7400-46A1-AEF7-5779C53F8DEF}" dt="2021-02-28T21:02:18.987" v="1203" actId="1076"/>
          <ac:spMkLst>
            <pc:docMk/>
            <pc:sldMk cId="1375137510" sldId="414"/>
            <ac:spMk id="20" creationId="{5484F919-2C91-4AF7-984C-00988FE67E13}"/>
          </ac:spMkLst>
        </pc:spChg>
        <pc:spChg chg="add mod">
          <ac:chgData name="Lorenzo Pigozzi" userId="d2dd6adb-d6c5-40e2-988b-f8d78eb1005e" providerId="ADAL" clId="{6C8A582D-7400-46A1-AEF7-5779C53F8DEF}" dt="2021-02-28T21:02:40.588" v="1207" actId="1076"/>
          <ac:spMkLst>
            <pc:docMk/>
            <pc:sldMk cId="1375137510" sldId="414"/>
            <ac:spMk id="21" creationId="{93EAC43A-2829-40B3-BBCB-559CAEC20AC6}"/>
          </ac:spMkLst>
        </pc:spChg>
        <pc:grpChg chg="add mod">
          <ac:chgData name="Lorenzo Pigozzi" userId="d2dd6adb-d6c5-40e2-988b-f8d78eb1005e" providerId="ADAL" clId="{6C8A582D-7400-46A1-AEF7-5779C53F8DEF}" dt="2021-02-28T20:52:09.692" v="1181" actId="1076"/>
          <ac:grpSpMkLst>
            <pc:docMk/>
            <pc:sldMk cId="1375137510" sldId="414"/>
            <ac:grpSpMk id="6" creationId="{EF5D0A0F-769E-41FF-89EB-3FAC553C8DC3}"/>
          </ac:grpSpMkLst>
        </pc:grpChg>
        <pc:graphicFrameChg chg="add del mod">
          <ac:chgData name="Lorenzo Pigozzi" userId="d2dd6adb-d6c5-40e2-988b-f8d78eb1005e" providerId="ADAL" clId="{6C8A582D-7400-46A1-AEF7-5779C53F8DEF}" dt="2021-03-01T13:04:01.739" v="1328" actId="478"/>
          <ac:graphicFrameMkLst>
            <pc:docMk/>
            <pc:sldMk cId="1375137510" sldId="414"/>
            <ac:graphicFrameMk id="2" creationId="{53366705-D400-455F-B898-2ABC39F92F1F}"/>
          </ac:graphicFrameMkLst>
        </pc:graphicFrameChg>
        <pc:graphicFrameChg chg="add del mod">
          <ac:chgData name="Lorenzo Pigozzi" userId="d2dd6adb-d6c5-40e2-988b-f8d78eb1005e" providerId="ADAL" clId="{6C8A582D-7400-46A1-AEF7-5779C53F8DEF}" dt="2021-03-01T13:05:18.272" v="1331" actId="478"/>
          <ac:graphicFrameMkLst>
            <pc:docMk/>
            <pc:sldMk cId="1375137510" sldId="414"/>
            <ac:graphicFrameMk id="9" creationId="{A2E15474-4574-4CC2-A15C-5446EB20F246}"/>
          </ac:graphicFrameMkLst>
        </pc:graphicFrameChg>
        <pc:graphicFrameChg chg="add del">
          <ac:chgData name="Lorenzo Pigozzi" userId="d2dd6adb-d6c5-40e2-988b-f8d78eb1005e" providerId="ADAL" clId="{6C8A582D-7400-46A1-AEF7-5779C53F8DEF}" dt="2021-03-01T13:06:51.387" v="1333" actId="478"/>
          <ac:graphicFrameMkLst>
            <pc:docMk/>
            <pc:sldMk cId="1375137510" sldId="414"/>
            <ac:graphicFrameMk id="10" creationId="{B7689946-4D31-4F82-8EA6-F4FC527A6E7C}"/>
          </ac:graphicFrameMkLst>
        </pc:graphicFrameChg>
        <pc:graphicFrameChg chg="add del">
          <ac:chgData name="Lorenzo Pigozzi" userId="d2dd6adb-d6c5-40e2-988b-f8d78eb1005e" providerId="ADAL" clId="{6C8A582D-7400-46A1-AEF7-5779C53F8DEF}" dt="2021-03-01T13:09:04.581" v="1335" actId="478"/>
          <ac:graphicFrameMkLst>
            <pc:docMk/>
            <pc:sldMk cId="1375137510" sldId="414"/>
            <ac:graphicFrameMk id="14" creationId="{8D50B9A4-A6B9-4DD7-874E-21FB38B49C9D}"/>
          </ac:graphicFrameMkLst>
        </pc:graphicFrameChg>
        <pc:picChg chg="mod">
          <ac:chgData name="Lorenzo Pigozzi" userId="d2dd6adb-d6c5-40e2-988b-f8d78eb1005e" providerId="ADAL" clId="{6C8A582D-7400-46A1-AEF7-5779C53F8DEF}" dt="2021-03-01T12:02:46.364" v="1215" actId="1076"/>
          <ac:picMkLst>
            <pc:docMk/>
            <pc:sldMk cId="1375137510" sldId="414"/>
            <ac:picMk id="5" creationId="{3122F3E5-9030-4E79-A655-6FE420A1063D}"/>
          </ac:picMkLst>
        </pc:picChg>
        <pc:picChg chg="del">
          <ac:chgData name="Lorenzo Pigozzi" userId="d2dd6adb-d6c5-40e2-988b-f8d78eb1005e" providerId="ADAL" clId="{6C8A582D-7400-46A1-AEF7-5779C53F8DEF}" dt="2021-02-28T19:45:58.424" v="857" actId="478"/>
          <ac:picMkLst>
            <pc:docMk/>
            <pc:sldMk cId="1375137510" sldId="414"/>
            <ac:picMk id="2050" creationId="{107BAD7E-A1D4-4DE1-836F-F10180ABDF3E}"/>
          </ac:picMkLst>
        </pc:picChg>
        <pc:cxnChg chg="add del">
          <ac:chgData name="Lorenzo Pigozzi" userId="d2dd6adb-d6c5-40e2-988b-f8d78eb1005e" providerId="ADAL" clId="{6C8A582D-7400-46A1-AEF7-5779C53F8DEF}" dt="2021-02-28T20:53:42.734" v="1188" actId="11529"/>
          <ac:cxnSpMkLst>
            <pc:docMk/>
            <pc:sldMk cId="1375137510" sldId="414"/>
            <ac:cxnSpMk id="14" creationId="{E5AF7C08-30F7-43E1-842D-55BD5530E4BA}"/>
          </ac:cxnSpMkLst>
        </pc:cxnChg>
      </pc:sldChg>
      <pc:sldChg chg="addSp delSp modSp mod">
        <pc:chgData name="Lorenzo Pigozzi" userId="d2dd6adb-d6c5-40e2-988b-f8d78eb1005e" providerId="ADAL" clId="{6C8A582D-7400-46A1-AEF7-5779C53F8DEF}" dt="2021-02-28T20:36:19.873" v="1061" actId="20577"/>
        <pc:sldMkLst>
          <pc:docMk/>
          <pc:sldMk cId="1150287506" sldId="418"/>
        </pc:sldMkLst>
        <pc:spChg chg="add mod">
          <ac:chgData name="Lorenzo Pigozzi" userId="d2dd6adb-d6c5-40e2-988b-f8d78eb1005e" providerId="ADAL" clId="{6C8A582D-7400-46A1-AEF7-5779C53F8DEF}" dt="2021-02-28T13:07:25.428" v="723" actId="255"/>
          <ac:spMkLst>
            <pc:docMk/>
            <pc:sldMk cId="1150287506" sldId="418"/>
            <ac:spMk id="2" creationId="{592141AF-53E6-4692-BC5E-00B8A05D9D1B}"/>
          </ac:spMkLst>
        </pc:spChg>
        <pc:spChg chg="add mod">
          <ac:chgData name="Lorenzo Pigozzi" userId="d2dd6adb-d6c5-40e2-988b-f8d78eb1005e" providerId="ADAL" clId="{6C8A582D-7400-46A1-AEF7-5779C53F8DEF}" dt="2021-02-28T20:36:19.873" v="1061" actId="20577"/>
          <ac:spMkLst>
            <pc:docMk/>
            <pc:sldMk cId="1150287506" sldId="418"/>
            <ac:spMk id="5" creationId="{BF2884ED-221C-4B17-84A5-F9F246995096}"/>
          </ac:spMkLst>
        </pc:spChg>
        <pc:spChg chg="add mod">
          <ac:chgData name="Lorenzo Pigozzi" userId="d2dd6adb-d6c5-40e2-988b-f8d78eb1005e" providerId="ADAL" clId="{6C8A582D-7400-46A1-AEF7-5779C53F8DEF}" dt="2021-02-28T20:11:36.580" v="994" actId="1076"/>
          <ac:spMkLst>
            <pc:docMk/>
            <pc:sldMk cId="1150287506" sldId="418"/>
            <ac:spMk id="6" creationId="{08466547-1767-46C9-9E25-EB7C36D852BE}"/>
          </ac:spMkLst>
        </pc:spChg>
        <pc:spChg chg="mod">
          <ac:chgData name="Lorenzo Pigozzi" userId="d2dd6adb-d6c5-40e2-988b-f8d78eb1005e" providerId="ADAL" clId="{6C8A582D-7400-46A1-AEF7-5779C53F8DEF}" dt="2021-02-27T16:58:48.329" v="56" actId="20577"/>
          <ac:spMkLst>
            <pc:docMk/>
            <pc:sldMk cId="1150287506" sldId="418"/>
            <ac:spMk id="7" creationId="{1CC8365B-B0D0-4316-90D9-71BB8A4A0556}"/>
          </ac:spMkLst>
        </pc:spChg>
        <pc:spChg chg="add mod">
          <ac:chgData name="Lorenzo Pigozzi" userId="d2dd6adb-d6c5-40e2-988b-f8d78eb1005e" providerId="ADAL" clId="{6C8A582D-7400-46A1-AEF7-5779C53F8DEF}" dt="2021-02-28T20:07:23.807" v="990" actId="1076"/>
          <ac:spMkLst>
            <pc:docMk/>
            <pc:sldMk cId="1150287506" sldId="418"/>
            <ac:spMk id="11" creationId="{F27522A6-45AE-4EB0-BB91-A3F4AD49251F}"/>
          </ac:spMkLst>
        </pc:spChg>
        <pc:spChg chg="add mod">
          <ac:chgData name="Lorenzo Pigozzi" userId="d2dd6adb-d6c5-40e2-988b-f8d78eb1005e" providerId="ADAL" clId="{6C8A582D-7400-46A1-AEF7-5779C53F8DEF}" dt="2021-02-28T20:11:39.539" v="995" actId="1076"/>
          <ac:spMkLst>
            <pc:docMk/>
            <pc:sldMk cId="1150287506" sldId="418"/>
            <ac:spMk id="12" creationId="{587514E4-3029-492F-8348-94FF7FDFC65B}"/>
          </ac:spMkLst>
        </pc:spChg>
        <pc:spChg chg="mod">
          <ac:chgData name="Lorenzo Pigozzi" userId="d2dd6adb-d6c5-40e2-988b-f8d78eb1005e" providerId="ADAL" clId="{6C8A582D-7400-46A1-AEF7-5779C53F8DEF}" dt="2021-02-28T12:41:43.307" v="114" actId="113"/>
          <ac:spMkLst>
            <pc:docMk/>
            <pc:sldMk cId="1150287506" sldId="418"/>
            <ac:spMk id="18" creationId="{CBEEDC8E-6C36-4094-8441-310D0DD5E65B}"/>
          </ac:spMkLst>
        </pc:spChg>
        <pc:spChg chg="mod">
          <ac:chgData name="Lorenzo Pigozzi" userId="d2dd6adb-d6c5-40e2-988b-f8d78eb1005e" providerId="ADAL" clId="{6C8A582D-7400-46A1-AEF7-5779C53F8DEF}" dt="2021-02-28T20:21:51.520" v="1052" actId="113"/>
          <ac:spMkLst>
            <pc:docMk/>
            <pc:sldMk cId="1150287506" sldId="418"/>
            <ac:spMk id="19" creationId="{17179A47-A339-4928-91B8-05575EFFC243}"/>
          </ac:spMkLst>
        </pc:spChg>
        <pc:grpChg chg="add del mod">
          <ac:chgData name="Lorenzo Pigozzi" userId="d2dd6adb-d6c5-40e2-988b-f8d78eb1005e" providerId="ADAL" clId="{6C8A582D-7400-46A1-AEF7-5779C53F8DEF}" dt="2021-02-28T20:19:32.493" v="1030" actId="478"/>
          <ac:grpSpMkLst>
            <pc:docMk/>
            <pc:sldMk cId="1150287506" sldId="418"/>
            <ac:grpSpMk id="17" creationId="{DD18BEDD-77D8-467C-AD62-57BB5E60E313}"/>
          </ac:grpSpMkLst>
        </pc:grpChg>
        <pc:grpChg chg="add del mod">
          <ac:chgData name="Lorenzo Pigozzi" userId="d2dd6adb-d6c5-40e2-988b-f8d78eb1005e" providerId="ADAL" clId="{6C8A582D-7400-46A1-AEF7-5779C53F8DEF}" dt="2021-02-28T20:18:54.323" v="1020"/>
          <ac:grpSpMkLst>
            <pc:docMk/>
            <pc:sldMk cId="1150287506" sldId="418"/>
            <ac:grpSpMk id="60" creationId="{B363BD52-0E39-41EE-8127-E90FD37E9224}"/>
          </ac:grpSpMkLst>
        </pc:grpChg>
        <pc:grpChg chg="add del mod">
          <ac:chgData name="Lorenzo Pigozzi" userId="d2dd6adb-d6c5-40e2-988b-f8d78eb1005e" providerId="ADAL" clId="{6C8A582D-7400-46A1-AEF7-5779C53F8DEF}" dt="2021-02-28T20:18:51.147" v="1016"/>
          <ac:grpSpMkLst>
            <pc:docMk/>
            <pc:sldMk cId="1150287506" sldId="418"/>
            <ac:grpSpMk id="78" creationId="{C9976F76-B77C-4AB4-93CD-AE4AE6134D4F}"/>
          </ac:grpSpMkLst>
        </pc:grpChg>
        <pc:grpChg chg="del">
          <ac:chgData name="Lorenzo Pigozzi" userId="d2dd6adb-d6c5-40e2-988b-f8d78eb1005e" providerId="ADAL" clId="{6C8A582D-7400-46A1-AEF7-5779C53F8DEF}" dt="2021-02-28T20:20:36.717" v="1046" actId="478"/>
          <ac:grpSpMkLst>
            <pc:docMk/>
            <pc:sldMk cId="1150287506" sldId="418"/>
            <ac:grpSpMk id="87" creationId="{37779EDC-E860-494F-A2C3-6BA7ADA357C9}"/>
          </ac:grpSpMkLst>
        </pc:grpChg>
        <pc:grpChg chg="add del mod">
          <ac:chgData name="Lorenzo Pigozzi" userId="d2dd6adb-d6c5-40e2-988b-f8d78eb1005e" providerId="ADAL" clId="{6C8A582D-7400-46A1-AEF7-5779C53F8DEF}" dt="2021-02-28T20:19:03.520" v="1022"/>
          <ac:grpSpMkLst>
            <pc:docMk/>
            <pc:sldMk cId="1150287506" sldId="418"/>
            <ac:grpSpMk id="92" creationId="{49D67742-F281-45A6-9C51-990F8D0F51AC}"/>
          </ac:grpSpMkLst>
        </pc:grpChg>
        <pc:grpChg chg="add del mod">
          <ac:chgData name="Lorenzo Pigozzi" userId="d2dd6adb-d6c5-40e2-988b-f8d78eb1005e" providerId="ADAL" clId="{6C8A582D-7400-46A1-AEF7-5779C53F8DEF}" dt="2021-02-28T20:19:17.974" v="1028"/>
          <ac:grpSpMkLst>
            <pc:docMk/>
            <pc:sldMk cId="1150287506" sldId="418"/>
            <ac:grpSpMk id="101" creationId="{DAA90E19-124E-4922-9843-0C9559DA8AD7}"/>
          </ac:grpSpMkLst>
        </pc:grpChg>
        <pc:grpChg chg="add mod">
          <ac:chgData name="Lorenzo Pigozzi" userId="d2dd6adb-d6c5-40e2-988b-f8d78eb1005e" providerId="ADAL" clId="{6C8A582D-7400-46A1-AEF7-5779C53F8DEF}" dt="2021-02-28T20:19:45.048" v="1031" actId="1076"/>
          <ac:grpSpMkLst>
            <pc:docMk/>
            <pc:sldMk cId="1150287506" sldId="418"/>
            <ac:grpSpMk id="109" creationId="{365EF7C3-5FB3-41DA-8903-3BB8828DAC16}"/>
          </ac:grpSpMkLst>
        </pc:grpChg>
        <pc:grpChg chg="del">
          <ac:chgData name="Lorenzo Pigozzi" userId="d2dd6adb-d6c5-40e2-988b-f8d78eb1005e" providerId="ADAL" clId="{6C8A582D-7400-46A1-AEF7-5779C53F8DEF}" dt="2021-02-28T20:20:50.848" v="1050" actId="478"/>
          <ac:grpSpMkLst>
            <pc:docMk/>
            <pc:sldMk cId="1150287506" sldId="418"/>
            <ac:grpSpMk id="120" creationId="{03D850C9-FD3A-430B-8573-8ADA608CE7B7}"/>
          </ac:grpSpMkLst>
        </pc:grpChg>
        <pc:grpChg chg="del">
          <ac:chgData name="Lorenzo Pigozzi" userId="d2dd6adb-d6c5-40e2-988b-f8d78eb1005e" providerId="ADAL" clId="{6C8A582D-7400-46A1-AEF7-5779C53F8DEF}" dt="2021-02-28T12:40:20.212" v="84" actId="478"/>
          <ac:grpSpMkLst>
            <pc:docMk/>
            <pc:sldMk cId="1150287506" sldId="418"/>
            <ac:grpSpMk id="131" creationId="{90A37850-BFF7-47E6-AE6E-A6432A4599CC}"/>
          </ac:grpSpMkLst>
        </pc:grpChg>
        <pc:grpChg chg="del">
          <ac:chgData name="Lorenzo Pigozzi" userId="d2dd6adb-d6c5-40e2-988b-f8d78eb1005e" providerId="ADAL" clId="{6C8A582D-7400-46A1-AEF7-5779C53F8DEF}" dt="2021-02-28T20:20:25.551" v="1042" actId="478"/>
          <ac:grpSpMkLst>
            <pc:docMk/>
            <pc:sldMk cId="1150287506" sldId="418"/>
            <ac:grpSpMk id="142" creationId="{5334CA2D-A36F-42ED-9FAA-E36B71D2F54E}"/>
          </ac:grpSpMkLst>
        </pc:grpChg>
        <pc:grpChg chg="mod">
          <ac:chgData name="Lorenzo Pigozzi" userId="d2dd6adb-d6c5-40e2-988b-f8d78eb1005e" providerId="ADAL" clId="{6C8A582D-7400-46A1-AEF7-5779C53F8DEF}" dt="2021-02-28T20:19:16.973" v="1026" actId="1076"/>
          <ac:grpSpMkLst>
            <pc:docMk/>
            <pc:sldMk cId="1150287506" sldId="418"/>
            <ac:grpSpMk id="32768" creationId="{B19C19F8-67DA-4B54-966E-7D22E6365582}"/>
          </ac:grpSpMkLst>
        </pc:grpChg>
        <pc:picChg chg="del mod">
          <ac:chgData name="Lorenzo Pigozzi" userId="d2dd6adb-d6c5-40e2-988b-f8d78eb1005e" providerId="ADAL" clId="{6C8A582D-7400-46A1-AEF7-5779C53F8DEF}" dt="2021-02-28T12:41:29.648" v="111" actId="478"/>
          <ac:picMkLst>
            <pc:docMk/>
            <pc:sldMk cId="1150287506" sldId="418"/>
            <ac:picMk id="35" creationId="{46EE91F2-9934-4BA4-B2AA-350F5B7395B2}"/>
          </ac:picMkLst>
        </pc:picChg>
        <pc:picChg chg="del">
          <ac:chgData name="Lorenzo Pigozzi" userId="d2dd6adb-d6c5-40e2-988b-f8d78eb1005e" providerId="ADAL" clId="{6C8A582D-7400-46A1-AEF7-5779C53F8DEF}" dt="2021-02-28T12:41:13.299" v="104" actId="478"/>
          <ac:picMkLst>
            <pc:docMk/>
            <pc:sldMk cId="1150287506" sldId="418"/>
            <ac:picMk id="45" creationId="{2EFCE302-A7CF-4F9A-A855-7208B3D59DA2}"/>
          </ac:picMkLst>
        </pc:picChg>
        <pc:picChg chg="del">
          <ac:chgData name="Lorenzo Pigozzi" userId="d2dd6adb-d6c5-40e2-988b-f8d78eb1005e" providerId="ADAL" clId="{6C8A582D-7400-46A1-AEF7-5779C53F8DEF}" dt="2021-02-28T12:41:27.140" v="110" actId="478"/>
          <ac:picMkLst>
            <pc:docMk/>
            <pc:sldMk cId="1150287506" sldId="418"/>
            <ac:picMk id="49" creationId="{41F55559-A842-4F5A-BDB0-AE1D77E3C2D1}"/>
          </ac:picMkLst>
        </pc:picChg>
        <pc:picChg chg="del">
          <ac:chgData name="Lorenzo Pigozzi" userId="d2dd6adb-d6c5-40e2-988b-f8d78eb1005e" providerId="ADAL" clId="{6C8A582D-7400-46A1-AEF7-5779C53F8DEF}" dt="2021-02-28T12:41:25.403" v="109" actId="478"/>
          <ac:picMkLst>
            <pc:docMk/>
            <pc:sldMk cId="1150287506" sldId="418"/>
            <ac:picMk id="50" creationId="{06DE5787-2BA9-494C-B69E-815170819515}"/>
          </ac:picMkLst>
        </pc:picChg>
        <pc:picChg chg="del">
          <ac:chgData name="Lorenzo Pigozzi" userId="d2dd6adb-d6c5-40e2-988b-f8d78eb1005e" providerId="ADAL" clId="{6C8A582D-7400-46A1-AEF7-5779C53F8DEF}" dt="2021-02-28T12:41:23.685" v="108" actId="478"/>
          <ac:picMkLst>
            <pc:docMk/>
            <pc:sldMk cId="1150287506" sldId="418"/>
            <ac:picMk id="51" creationId="{417B0805-11E8-4D0D-AAA3-21F9A54704A1}"/>
          </ac:picMkLst>
        </pc:picChg>
        <pc:picChg chg="del">
          <ac:chgData name="Lorenzo Pigozzi" userId="d2dd6adb-d6c5-40e2-988b-f8d78eb1005e" providerId="ADAL" clId="{6C8A582D-7400-46A1-AEF7-5779C53F8DEF}" dt="2021-02-28T12:41:21.587" v="107" actId="478"/>
          <ac:picMkLst>
            <pc:docMk/>
            <pc:sldMk cId="1150287506" sldId="418"/>
            <ac:picMk id="52" creationId="{6BC5C723-1161-43C7-B5FB-AB15F21A2312}"/>
          </ac:picMkLst>
        </pc:picChg>
        <pc:picChg chg="del">
          <ac:chgData name="Lorenzo Pigozzi" userId="d2dd6adb-d6c5-40e2-988b-f8d78eb1005e" providerId="ADAL" clId="{6C8A582D-7400-46A1-AEF7-5779C53F8DEF}" dt="2021-02-28T12:40:49.938" v="97" actId="478"/>
          <ac:picMkLst>
            <pc:docMk/>
            <pc:sldMk cId="1150287506" sldId="418"/>
            <ac:picMk id="53" creationId="{9BAEF88B-A612-47E1-B89C-843C73D47FCB}"/>
          </ac:picMkLst>
        </pc:picChg>
        <pc:picChg chg="add mod">
          <ac:chgData name="Lorenzo Pigozzi" userId="d2dd6adb-d6c5-40e2-988b-f8d78eb1005e" providerId="ADAL" clId="{6C8A582D-7400-46A1-AEF7-5779C53F8DEF}" dt="2021-02-28T19:48:22.430" v="880"/>
          <ac:picMkLst>
            <pc:docMk/>
            <pc:sldMk cId="1150287506" sldId="418"/>
            <ac:picMk id="54" creationId="{6E5AFD83-E526-4FB4-89D4-1954F85FCB01}"/>
          </ac:picMkLst>
        </pc:picChg>
        <pc:picChg chg="add mod">
          <ac:chgData name="Lorenzo Pigozzi" userId="d2dd6adb-d6c5-40e2-988b-f8d78eb1005e" providerId="ADAL" clId="{6C8A582D-7400-46A1-AEF7-5779C53F8DEF}" dt="2021-02-28T20:11:47.805" v="998" actId="1076"/>
          <ac:picMkLst>
            <pc:docMk/>
            <pc:sldMk cId="1150287506" sldId="418"/>
            <ac:picMk id="58" creationId="{1D7FA074-7EA1-4227-96C1-FADD03B5CAD6}"/>
          </ac:picMkLst>
        </pc:picChg>
        <pc:picChg chg="add mod">
          <ac:chgData name="Lorenzo Pigozzi" userId="d2dd6adb-d6c5-40e2-988b-f8d78eb1005e" providerId="ADAL" clId="{6C8A582D-7400-46A1-AEF7-5779C53F8DEF}" dt="2021-02-28T20:11:42.769" v="996" actId="1076"/>
          <ac:picMkLst>
            <pc:docMk/>
            <pc:sldMk cId="1150287506" sldId="418"/>
            <ac:picMk id="59" creationId="{070011B2-8E55-4C56-AD14-2020B01CE1F1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61" creationId="{17E3ED51-667E-41BC-BF03-296C7ADCDB09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62" creationId="{E0520BF1-0294-4183-AEC6-69A6D1BAAFC2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63" creationId="{2F15F009-5985-4A25-8BBB-66148D14034D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64" creationId="{25066584-B9F0-49C2-A250-A459D7AFA3DB}"/>
          </ac:picMkLst>
        </pc:picChg>
        <pc:picChg chg="del mod">
          <ac:chgData name="Lorenzo Pigozzi" userId="d2dd6adb-d6c5-40e2-988b-f8d78eb1005e" providerId="ADAL" clId="{6C8A582D-7400-46A1-AEF7-5779C53F8DEF}" dt="2021-02-28T20:20:08.602" v="1038" actId="478"/>
          <ac:picMkLst>
            <pc:docMk/>
            <pc:sldMk cId="1150287506" sldId="418"/>
            <ac:picMk id="68" creationId="{9C43E7B8-363B-47E8-ADB4-E75594795A21}"/>
          </ac:picMkLst>
        </pc:picChg>
        <pc:picChg chg="del">
          <ac:chgData name="Lorenzo Pigozzi" userId="d2dd6adb-d6c5-40e2-988b-f8d78eb1005e" providerId="ADAL" clId="{6C8A582D-7400-46A1-AEF7-5779C53F8DEF}" dt="2021-02-28T12:41:07.748" v="102" actId="478"/>
          <ac:picMkLst>
            <pc:docMk/>
            <pc:sldMk cId="1150287506" sldId="418"/>
            <ac:picMk id="69" creationId="{8DF5B2F9-DE8F-4B4C-9C78-BAB7A43E67C2}"/>
          </ac:picMkLst>
        </pc:picChg>
        <pc:picChg chg="add del mod">
          <ac:chgData name="Lorenzo Pigozzi" userId="d2dd6adb-d6c5-40e2-988b-f8d78eb1005e" providerId="ADAL" clId="{6C8A582D-7400-46A1-AEF7-5779C53F8DEF}" dt="2021-02-28T20:18:53.188" v="1018" actId="478"/>
          <ac:picMkLst>
            <pc:docMk/>
            <pc:sldMk cId="1150287506" sldId="418"/>
            <ac:picMk id="69" creationId="{E8AB9D5F-D21A-4398-A228-84DE38BE6C59}"/>
          </ac:picMkLst>
        </pc:picChg>
        <pc:picChg chg="del mod">
          <ac:chgData name="Lorenzo Pigozzi" userId="d2dd6adb-d6c5-40e2-988b-f8d78eb1005e" providerId="ADAL" clId="{6C8A582D-7400-46A1-AEF7-5779C53F8DEF}" dt="2021-02-28T20:20:06.512" v="1037" actId="478"/>
          <ac:picMkLst>
            <pc:docMk/>
            <pc:sldMk cId="1150287506" sldId="418"/>
            <ac:picMk id="70" creationId="{6B87EBC3-A504-48EF-9CDE-83BC01761A12}"/>
          </ac:picMkLst>
        </pc:picChg>
        <pc:picChg chg="del mod">
          <ac:chgData name="Lorenzo Pigozzi" userId="d2dd6adb-d6c5-40e2-988b-f8d78eb1005e" providerId="ADAL" clId="{6C8A582D-7400-46A1-AEF7-5779C53F8DEF}" dt="2021-02-28T20:20:04.079" v="1036" actId="478"/>
          <ac:picMkLst>
            <pc:docMk/>
            <pc:sldMk cId="1150287506" sldId="418"/>
            <ac:picMk id="71" creationId="{DB968DA7-D3A5-409B-8E92-DED2FDFBD6F2}"/>
          </ac:picMkLst>
        </pc:picChg>
        <pc:picChg chg="del mod">
          <ac:chgData name="Lorenzo Pigozzi" userId="d2dd6adb-d6c5-40e2-988b-f8d78eb1005e" providerId="ADAL" clId="{6C8A582D-7400-46A1-AEF7-5779C53F8DEF}" dt="2021-02-28T20:20:01.873" v="1035" actId="478"/>
          <ac:picMkLst>
            <pc:docMk/>
            <pc:sldMk cId="1150287506" sldId="418"/>
            <ac:picMk id="72" creationId="{13DA70CC-0353-4524-BF4A-95E995F122C3}"/>
          </ac:picMkLst>
        </pc:picChg>
        <pc:picChg chg="del">
          <ac:chgData name="Lorenzo Pigozzi" userId="d2dd6adb-d6c5-40e2-988b-f8d78eb1005e" providerId="ADAL" clId="{6C8A582D-7400-46A1-AEF7-5779C53F8DEF}" dt="2021-02-28T12:41:09.843" v="103" actId="478"/>
          <ac:picMkLst>
            <pc:docMk/>
            <pc:sldMk cId="1150287506" sldId="418"/>
            <ac:picMk id="73" creationId="{50B92922-D743-49C6-928E-641FA252887D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73" creationId="{97DBF4A4-EAA5-4C38-9D86-294FDA9F87E8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74" creationId="{1CDF0293-B1C1-4E85-89BA-C55298CDF123}"/>
          </ac:picMkLst>
        </pc:picChg>
        <pc:picChg chg="del">
          <ac:chgData name="Lorenzo Pigozzi" userId="d2dd6adb-d6c5-40e2-988b-f8d78eb1005e" providerId="ADAL" clId="{6C8A582D-7400-46A1-AEF7-5779C53F8DEF}" dt="2021-02-28T12:40:45.642" v="96" actId="478"/>
          <ac:picMkLst>
            <pc:docMk/>
            <pc:sldMk cId="1150287506" sldId="418"/>
            <ac:picMk id="74" creationId="{3ADF0423-18CD-4D05-B667-A434648011B3}"/>
          </ac:picMkLst>
        </pc:picChg>
        <pc:picChg chg="mod">
          <ac:chgData name="Lorenzo Pigozzi" userId="d2dd6adb-d6c5-40e2-988b-f8d78eb1005e" providerId="ADAL" clId="{6C8A582D-7400-46A1-AEF7-5779C53F8DEF}" dt="2021-02-28T20:18:01.583" v="999"/>
          <ac:picMkLst>
            <pc:docMk/>
            <pc:sldMk cId="1150287506" sldId="418"/>
            <ac:picMk id="75" creationId="{6CDE2EC8-6D90-4191-8F82-CA09ACBEAC8A}"/>
          </ac:picMkLst>
        </pc:picChg>
        <pc:picChg chg="add del mod">
          <ac:chgData name="Lorenzo Pigozzi" userId="d2dd6adb-d6c5-40e2-988b-f8d78eb1005e" providerId="ADAL" clId="{6C8A582D-7400-46A1-AEF7-5779C53F8DEF}" dt="2021-02-28T20:18:51.800" v="1017" actId="478"/>
          <ac:picMkLst>
            <pc:docMk/>
            <pc:sldMk cId="1150287506" sldId="418"/>
            <ac:picMk id="76" creationId="{369134FB-CFB2-4F44-9D2D-9D39F981E245}"/>
          </ac:picMkLst>
        </pc:picChg>
        <pc:picChg chg="add del mod">
          <ac:chgData name="Lorenzo Pigozzi" userId="d2dd6adb-d6c5-40e2-988b-f8d78eb1005e" providerId="ADAL" clId="{6C8A582D-7400-46A1-AEF7-5779C53F8DEF}" dt="2021-02-28T20:18:53.774" v="1019" actId="478"/>
          <ac:picMkLst>
            <pc:docMk/>
            <pc:sldMk cId="1150287506" sldId="418"/>
            <ac:picMk id="77" creationId="{89BC9F9B-3E4C-4EC8-9092-42A4859658CC}"/>
          </ac:picMkLst>
        </pc:picChg>
        <pc:picChg chg="mod">
          <ac:chgData name="Lorenzo Pigozzi" userId="d2dd6adb-d6c5-40e2-988b-f8d78eb1005e" providerId="ADAL" clId="{6C8A582D-7400-46A1-AEF7-5779C53F8DEF}" dt="2021-02-28T20:18:27.373" v="1003"/>
          <ac:picMkLst>
            <pc:docMk/>
            <pc:sldMk cId="1150287506" sldId="418"/>
            <ac:picMk id="79" creationId="{0DD29FD3-AC82-4D8B-87D1-0F83C4F77973}"/>
          </ac:picMkLst>
        </pc:picChg>
        <pc:picChg chg="mod">
          <ac:chgData name="Lorenzo Pigozzi" userId="d2dd6adb-d6c5-40e2-988b-f8d78eb1005e" providerId="ADAL" clId="{6C8A582D-7400-46A1-AEF7-5779C53F8DEF}" dt="2021-02-28T20:18:27.373" v="1003"/>
          <ac:picMkLst>
            <pc:docMk/>
            <pc:sldMk cId="1150287506" sldId="418"/>
            <ac:picMk id="80" creationId="{B0BD979C-1C5B-4F61-A9C7-197068C4F56E}"/>
          </ac:picMkLst>
        </pc:picChg>
        <pc:picChg chg="mod">
          <ac:chgData name="Lorenzo Pigozzi" userId="d2dd6adb-d6c5-40e2-988b-f8d78eb1005e" providerId="ADAL" clId="{6C8A582D-7400-46A1-AEF7-5779C53F8DEF}" dt="2021-02-28T20:18:27.373" v="1003"/>
          <ac:picMkLst>
            <pc:docMk/>
            <pc:sldMk cId="1150287506" sldId="418"/>
            <ac:picMk id="81" creationId="{5AAAA9B3-6230-4E25-BBD1-94CA49CDF9EE}"/>
          </ac:picMkLst>
        </pc:picChg>
        <pc:picChg chg="add del mod">
          <ac:chgData name="Lorenzo Pigozzi" userId="d2dd6adb-d6c5-40e2-988b-f8d78eb1005e" providerId="ADAL" clId="{6C8A582D-7400-46A1-AEF7-5779C53F8DEF}" dt="2021-02-28T20:18:48.680" v="1011" actId="478"/>
          <ac:picMkLst>
            <pc:docMk/>
            <pc:sldMk cId="1150287506" sldId="418"/>
            <ac:picMk id="82" creationId="{7E56DAB0-C9BD-4458-9778-1F4851327C19}"/>
          </ac:picMkLst>
        </pc:picChg>
        <pc:picChg chg="add del mod">
          <ac:chgData name="Lorenzo Pigozzi" userId="d2dd6adb-d6c5-40e2-988b-f8d78eb1005e" providerId="ADAL" clId="{6C8A582D-7400-46A1-AEF7-5779C53F8DEF}" dt="2021-02-28T20:18:49.344" v="1012" actId="478"/>
          <ac:picMkLst>
            <pc:docMk/>
            <pc:sldMk cId="1150287506" sldId="418"/>
            <ac:picMk id="83" creationId="{56520462-7934-4B61-AC77-287B18B3CE50}"/>
          </ac:picMkLst>
        </pc:picChg>
        <pc:picChg chg="add del mod">
          <ac:chgData name="Lorenzo Pigozzi" userId="d2dd6adb-d6c5-40e2-988b-f8d78eb1005e" providerId="ADAL" clId="{6C8A582D-7400-46A1-AEF7-5779C53F8DEF}" dt="2021-02-28T20:18:49.862" v="1013" actId="478"/>
          <ac:picMkLst>
            <pc:docMk/>
            <pc:sldMk cId="1150287506" sldId="418"/>
            <ac:picMk id="84" creationId="{B9758C4C-444E-414A-AA49-DBA43D291F2A}"/>
          </ac:picMkLst>
        </pc:picChg>
        <pc:picChg chg="add del mod">
          <ac:chgData name="Lorenzo Pigozzi" userId="d2dd6adb-d6c5-40e2-988b-f8d78eb1005e" providerId="ADAL" clId="{6C8A582D-7400-46A1-AEF7-5779C53F8DEF}" dt="2021-02-28T20:18:50.231" v="1014" actId="478"/>
          <ac:picMkLst>
            <pc:docMk/>
            <pc:sldMk cId="1150287506" sldId="418"/>
            <ac:picMk id="85" creationId="{ADC53326-E011-407C-86CA-2B7327007A5A}"/>
          </ac:picMkLst>
        </pc:picChg>
        <pc:picChg chg="add del mod">
          <ac:chgData name="Lorenzo Pigozzi" userId="d2dd6adb-d6c5-40e2-988b-f8d78eb1005e" providerId="ADAL" clId="{6C8A582D-7400-46A1-AEF7-5779C53F8DEF}" dt="2021-02-28T20:18:50.597" v="1015" actId="478"/>
          <ac:picMkLst>
            <pc:docMk/>
            <pc:sldMk cId="1150287506" sldId="418"/>
            <ac:picMk id="86" creationId="{BD09CDE4-3DDE-42B2-B295-E67B69703BE7}"/>
          </ac:picMkLst>
        </pc:picChg>
        <pc:picChg chg="topLvl">
          <ac:chgData name="Lorenzo Pigozzi" userId="d2dd6adb-d6c5-40e2-988b-f8d78eb1005e" providerId="ADAL" clId="{6C8A582D-7400-46A1-AEF7-5779C53F8DEF}" dt="2021-02-28T20:20:36.717" v="1046" actId="478"/>
          <ac:picMkLst>
            <pc:docMk/>
            <pc:sldMk cId="1150287506" sldId="418"/>
            <ac:picMk id="88" creationId="{5F0B599F-5E73-4980-95F3-9B3029977E43}"/>
          </ac:picMkLst>
        </pc:picChg>
        <pc:picChg chg="del mod topLvl">
          <ac:chgData name="Lorenzo Pigozzi" userId="d2dd6adb-d6c5-40e2-988b-f8d78eb1005e" providerId="ADAL" clId="{6C8A582D-7400-46A1-AEF7-5779C53F8DEF}" dt="2021-02-28T20:20:36.717" v="1046" actId="478"/>
          <ac:picMkLst>
            <pc:docMk/>
            <pc:sldMk cId="1150287506" sldId="418"/>
            <ac:picMk id="89" creationId="{D99B5E7A-D090-4B68-8FED-5759AD4851EE}"/>
          </ac:picMkLst>
        </pc:picChg>
        <pc:picChg chg="del mod">
          <ac:chgData name="Lorenzo Pigozzi" userId="d2dd6adb-d6c5-40e2-988b-f8d78eb1005e" providerId="ADAL" clId="{6C8A582D-7400-46A1-AEF7-5779C53F8DEF}" dt="2021-02-28T20:20:32.695" v="1045" actId="478"/>
          <ac:picMkLst>
            <pc:docMk/>
            <pc:sldMk cId="1150287506" sldId="418"/>
            <ac:picMk id="90" creationId="{46A885D0-45F9-4E04-A851-30F3C8387D6B}"/>
          </ac:picMkLst>
        </pc:picChg>
        <pc:picChg chg="del mod">
          <ac:chgData name="Lorenzo Pigozzi" userId="d2dd6adb-d6c5-40e2-988b-f8d78eb1005e" providerId="ADAL" clId="{6C8A582D-7400-46A1-AEF7-5779C53F8DEF}" dt="2021-02-28T20:20:30.065" v="1044" actId="478"/>
          <ac:picMkLst>
            <pc:docMk/>
            <pc:sldMk cId="1150287506" sldId="418"/>
            <ac:picMk id="91" creationId="{302AFF91-79C3-4690-BF8C-23D9EDBF4B1E}"/>
          </ac:picMkLst>
        </pc:picChg>
        <pc:picChg chg="del">
          <ac:chgData name="Lorenzo Pigozzi" userId="d2dd6adb-d6c5-40e2-988b-f8d78eb1005e" providerId="ADAL" clId="{6C8A582D-7400-46A1-AEF7-5779C53F8DEF}" dt="2021-02-28T12:40:35.922" v="91" actId="478"/>
          <ac:picMkLst>
            <pc:docMk/>
            <pc:sldMk cId="1150287506" sldId="418"/>
            <ac:picMk id="92" creationId="{7F07B2C0-8DF4-43E8-91BF-28036C92D484}"/>
          </ac:picMkLst>
        </pc:picChg>
        <pc:picChg chg="del mod">
          <ac:chgData name="Lorenzo Pigozzi" userId="d2dd6adb-d6c5-40e2-988b-f8d78eb1005e" providerId="ADAL" clId="{6C8A582D-7400-46A1-AEF7-5779C53F8DEF}" dt="2021-02-28T20:20:27.362" v="1043" actId="478"/>
          <ac:picMkLst>
            <pc:docMk/>
            <pc:sldMk cId="1150287506" sldId="418"/>
            <ac:picMk id="93" creationId="{6A8A5002-B867-43A6-AAB1-F5063818E77E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4" creationId="{63B5FAF7-C8CE-4699-9D54-5A4C3B92A46E}"/>
          </ac:picMkLst>
        </pc:picChg>
        <pc:picChg chg="del">
          <ac:chgData name="Lorenzo Pigozzi" userId="d2dd6adb-d6c5-40e2-988b-f8d78eb1005e" providerId="ADAL" clId="{6C8A582D-7400-46A1-AEF7-5779C53F8DEF}" dt="2021-02-28T12:40:41.639" v="94" actId="478"/>
          <ac:picMkLst>
            <pc:docMk/>
            <pc:sldMk cId="1150287506" sldId="418"/>
            <ac:picMk id="94" creationId="{699FA060-B065-4774-A859-5C273F5AA46B}"/>
          </ac:picMkLst>
        </pc:picChg>
        <pc:picChg chg="del">
          <ac:chgData name="Lorenzo Pigozzi" userId="d2dd6adb-d6c5-40e2-988b-f8d78eb1005e" providerId="ADAL" clId="{6C8A582D-7400-46A1-AEF7-5779C53F8DEF}" dt="2021-02-28T12:40:39.860" v="93" actId="478"/>
          <ac:picMkLst>
            <pc:docMk/>
            <pc:sldMk cId="1150287506" sldId="418"/>
            <ac:picMk id="95" creationId="{26C0CCC2-D182-4E0B-BF9C-E8281B65762C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5" creationId="{B04EC481-349F-4683-A461-14238D660DDF}"/>
          </ac:picMkLst>
        </pc:picChg>
        <pc:picChg chg="del">
          <ac:chgData name="Lorenzo Pigozzi" userId="d2dd6adb-d6c5-40e2-988b-f8d78eb1005e" providerId="ADAL" clId="{6C8A582D-7400-46A1-AEF7-5779C53F8DEF}" dt="2021-02-28T12:40:38.194" v="92" actId="478"/>
          <ac:picMkLst>
            <pc:docMk/>
            <pc:sldMk cId="1150287506" sldId="418"/>
            <ac:picMk id="96" creationId="{24CED402-C359-4790-8892-B99282B7EFFA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6" creationId="{824BC596-3801-4616-BD33-5E0424C879E3}"/>
          </ac:picMkLst>
        </pc:picChg>
        <pc:picChg chg="del">
          <ac:chgData name="Lorenzo Pigozzi" userId="d2dd6adb-d6c5-40e2-988b-f8d78eb1005e" providerId="ADAL" clId="{6C8A582D-7400-46A1-AEF7-5779C53F8DEF}" dt="2021-02-28T12:40:33.812" v="90" actId="478"/>
          <ac:picMkLst>
            <pc:docMk/>
            <pc:sldMk cId="1150287506" sldId="418"/>
            <ac:picMk id="97" creationId="{0291C08B-2FBC-48DE-9428-69F9C0298502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7" creationId="{9596FA88-1140-4786-8799-1B1518A5B048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8" creationId="{FEF1B25D-CD55-462A-817B-A082FEE5B607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99" creationId="{74456544-60CF-466C-8479-0CB1304B3F18}"/>
          </ac:picMkLst>
        </pc:picChg>
        <pc:picChg chg="mod">
          <ac:chgData name="Lorenzo Pigozzi" userId="d2dd6adb-d6c5-40e2-988b-f8d78eb1005e" providerId="ADAL" clId="{6C8A582D-7400-46A1-AEF7-5779C53F8DEF}" dt="2021-02-28T20:19:01.268" v="1021"/>
          <ac:picMkLst>
            <pc:docMk/>
            <pc:sldMk cId="1150287506" sldId="418"/>
            <ac:picMk id="100" creationId="{4F0D99FE-6E89-474B-8003-A4D5D3EBAF7D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2" creationId="{C43D4BA5-66B7-423D-AE8B-CA4FC3842AE1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3" creationId="{70BF8CB8-89D2-4E3A-8EBC-3E9C5B599231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4" creationId="{AFAC3ED1-E59D-41B5-8C7A-9A7A6DA78349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5" creationId="{C796E922-774A-4DB1-9147-BF775798E938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6" creationId="{FD41289D-1BDD-47A4-974D-2F09F23EC295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7" creationId="{65F1C39D-CA0C-4B7C-804E-2EF3EA885ECA}"/>
          </ac:picMkLst>
        </pc:picChg>
        <pc:picChg chg="mod">
          <ac:chgData name="Lorenzo Pigozzi" userId="d2dd6adb-d6c5-40e2-988b-f8d78eb1005e" providerId="ADAL" clId="{6C8A582D-7400-46A1-AEF7-5779C53F8DEF}" dt="2021-02-28T20:19:06.761" v="1023"/>
          <ac:picMkLst>
            <pc:docMk/>
            <pc:sldMk cId="1150287506" sldId="418"/>
            <ac:picMk id="108" creationId="{3B8B7FCF-778D-4C86-AE56-B1088EE82D7C}"/>
          </ac:picMkLst>
        </pc:picChg>
        <pc:picChg chg="mod">
          <ac:chgData name="Lorenzo Pigozzi" userId="d2dd6adb-d6c5-40e2-988b-f8d78eb1005e" providerId="ADAL" clId="{6C8A582D-7400-46A1-AEF7-5779C53F8DEF}" dt="2021-02-28T20:19:28.126" v="1029"/>
          <ac:picMkLst>
            <pc:docMk/>
            <pc:sldMk cId="1150287506" sldId="418"/>
            <ac:picMk id="110" creationId="{04FC3237-49FA-4299-9D2C-CC59F0028A03}"/>
          </ac:picMkLst>
        </pc:picChg>
        <pc:picChg chg="mod">
          <ac:chgData name="Lorenzo Pigozzi" userId="d2dd6adb-d6c5-40e2-988b-f8d78eb1005e" providerId="ADAL" clId="{6C8A582D-7400-46A1-AEF7-5779C53F8DEF}" dt="2021-02-28T20:19:28.126" v="1029"/>
          <ac:picMkLst>
            <pc:docMk/>
            <pc:sldMk cId="1150287506" sldId="418"/>
            <ac:picMk id="111" creationId="{E1E1231C-073A-4CF8-925C-A52139F6F1B9}"/>
          </ac:picMkLst>
        </pc:picChg>
        <pc:picChg chg="mod">
          <ac:chgData name="Lorenzo Pigozzi" userId="d2dd6adb-d6c5-40e2-988b-f8d78eb1005e" providerId="ADAL" clId="{6C8A582D-7400-46A1-AEF7-5779C53F8DEF}" dt="2021-02-28T20:19:28.126" v="1029"/>
          <ac:picMkLst>
            <pc:docMk/>
            <pc:sldMk cId="1150287506" sldId="418"/>
            <ac:picMk id="112" creationId="{74FFBDEF-7570-4553-B087-B5004E9CFC76}"/>
          </ac:picMkLst>
        </pc:picChg>
        <pc:picChg chg="mod">
          <ac:chgData name="Lorenzo Pigozzi" userId="d2dd6adb-d6c5-40e2-988b-f8d78eb1005e" providerId="ADAL" clId="{6C8A582D-7400-46A1-AEF7-5779C53F8DEF}" dt="2021-02-28T20:19:28.126" v="1029"/>
          <ac:picMkLst>
            <pc:docMk/>
            <pc:sldMk cId="1150287506" sldId="418"/>
            <ac:picMk id="113" creationId="{C9654FB1-62BC-4A55-9BAC-E871B06F403F}"/>
          </ac:picMkLst>
        </pc:picChg>
        <pc:picChg chg="del mod">
          <ac:chgData name="Lorenzo Pigozzi" userId="d2dd6adb-d6c5-40e2-988b-f8d78eb1005e" providerId="ADAL" clId="{6C8A582D-7400-46A1-AEF7-5779C53F8DEF}" dt="2021-02-28T20:19:56.176" v="1034" actId="478"/>
          <ac:picMkLst>
            <pc:docMk/>
            <pc:sldMk cId="1150287506" sldId="418"/>
            <ac:picMk id="114" creationId="{2933F41B-3B8B-40BB-A093-E02901BE5A31}"/>
          </ac:picMkLst>
        </pc:picChg>
        <pc:picChg chg="del mod">
          <ac:chgData name="Lorenzo Pigozzi" userId="d2dd6adb-d6c5-40e2-988b-f8d78eb1005e" providerId="ADAL" clId="{6C8A582D-7400-46A1-AEF7-5779C53F8DEF}" dt="2021-02-28T20:19:52.763" v="1033" actId="478"/>
          <ac:picMkLst>
            <pc:docMk/>
            <pc:sldMk cId="1150287506" sldId="418"/>
            <ac:picMk id="115" creationId="{70DC1E18-67A6-4ED0-8970-97B1EA44C4E0}"/>
          </ac:picMkLst>
        </pc:picChg>
        <pc:picChg chg="del mod">
          <ac:chgData name="Lorenzo Pigozzi" userId="d2dd6adb-d6c5-40e2-988b-f8d78eb1005e" providerId="ADAL" clId="{6C8A582D-7400-46A1-AEF7-5779C53F8DEF}" dt="2021-02-28T20:19:50.621" v="1032" actId="478"/>
          <ac:picMkLst>
            <pc:docMk/>
            <pc:sldMk cId="1150287506" sldId="418"/>
            <ac:picMk id="116" creationId="{E368ED30-B328-40F2-AE30-D3833EFE2B6D}"/>
          </ac:picMkLst>
        </pc:picChg>
        <pc:picChg chg="topLvl">
          <ac:chgData name="Lorenzo Pigozzi" userId="d2dd6adb-d6c5-40e2-988b-f8d78eb1005e" providerId="ADAL" clId="{6C8A582D-7400-46A1-AEF7-5779C53F8DEF}" dt="2021-02-28T20:20:50.848" v="1050" actId="478"/>
          <ac:picMkLst>
            <pc:docMk/>
            <pc:sldMk cId="1150287506" sldId="418"/>
            <ac:picMk id="121" creationId="{951D42AC-CF76-4072-89B4-57DC825E5FAE}"/>
          </ac:picMkLst>
        </pc:picChg>
        <pc:picChg chg="del mod topLvl">
          <ac:chgData name="Lorenzo Pigozzi" userId="d2dd6adb-d6c5-40e2-988b-f8d78eb1005e" providerId="ADAL" clId="{6C8A582D-7400-46A1-AEF7-5779C53F8DEF}" dt="2021-02-28T20:20:50.848" v="1050" actId="478"/>
          <ac:picMkLst>
            <pc:docMk/>
            <pc:sldMk cId="1150287506" sldId="418"/>
            <ac:picMk id="122" creationId="{19905E59-7FA7-4630-82FC-D1931CA904AC}"/>
          </ac:picMkLst>
        </pc:picChg>
        <pc:picChg chg="del mod">
          <ac:chgData name="Lorenzo Pigozzi" userId="d2dd6adb-d6c5-40e2-988b-f8d78eb1005e" providerId="ADAL" clId="{6C8A582D-7400-46A1-AEF7-5779C53F8DEF}" dt="2021-02-28T20:20:47.909" v="1049" actId="478"/>
          <ac:picMkLst>
            <pc:docMk/>
            <pc:sldMk cId="1150287506" sldId="418"/>
            <ac:picMk id="123" creationId="{B9DBDA9D-A056-41D0-8373-06BC0F2E97A5}"/>
          </ac:picMkLst>
        </pc:picChg>
        <pc:picChg chg="del mod">
          <ac:chgData name="Lorenzo Pigozzi" userId="d2dd6adb-d6c5-40e2-988b-f8d78eb1005e" providerId="ADAL" clId="{6C8A582D-7400-46A1-AEF7-5779C53F8DEF}" dt="2021-02-28T20:20:45.022" v="1048" actId="478"/>
          <ac:picMkLst>
            <pc:docMk/>
            <pc:sldMk cId="1150287506" sldId="418"/>
            <ac:picMk id="124" creationId="{87973678-4D14-42BA-B728-4592EB04E0FE}"/>
          </ac:picMkLst>
        </pc:picChg>
        <pc:picChg chg="del">
          <ac:chgData name="Lorenzo Pigozzi" userId="d2dd6adb-d6c5-40e2-988b-f8d78eb1005e" providerId="ADAL" clId="{6C8A582D-7400-46A1-AEF7-5779C53F8DEF}" dt="2021-02-28T12:40:24.911" v="86" actId="478"/>
          <ac:picMkLst>
            <pc:docMk/>
            <pc:sldMk cId="1150287506" sldId="418"/>
            <ac:picMk id="125" creationId="{78AC0D32-03F5-440A-911F-FEB664A75CDF}"/>
          </ac:picMkLst>
        </pc:picChg>
        <pc:picChg chg="del mod">
          <ac:chgData name="Lorenzo Pigozzi" userId="d2dd6adb-d6c5-40e2-988b-f8d78eb1005e" providerId="ADAL" clId="{6C8A582D-7400-46A1-AEF7-5779C53F8DEF}" dt="2021-02-28T20:20:40.453" v="1047" actId="478"/>
          <ac:picMkLst>
            <pc:docMk/>
            <pc:sldMk cId="1150287506" sldId="418"/>
            <ac:picMk id="126" creationId="{6E6A15CA-6C65-4574-8DBB-26267B6CD984}"/>
          </ac:picMkLst>
        </pc:picChg>
        <pc:picChg chg="del">
          <ac:chgData name="Lorenzo Pigozzi" userId="d2dd6adb-d6c5-40e2-988b-f8d78eb1005e" providerId="ADAL" clId="{6C8A582D-7400-46A1-AEF7-5779C53F8DEF}" dt="2021-02-28T12:40:31.421" v="89" actId="478"/>
          <ac:picMkLst>
            <pc:docMk/>
            <pc:sldMk cId="1150287506" sldId="418"/>
            <ac:picMk id="127" creationId="{D883A21D-5C94-47EC-9BD9-BBDFAA088FB7}"/>
          </ac:picMkLst>
        </pc:picChg>
        <pc:picChg chg="del">
          <ac:chgData name="Lorenzo Pigozzi" userId="d2dd6adb-d6c5-40e2-988b-f8d78eb1005e" providerId="ADAL" clId="{6C8A582D-7400-46A1-AEF7-5779C53F8DEF}" dt="2021-02-28T12:40:29.395" v="88" actId="478"/>
          <ac:picMkLst>
            <pc:docMk/>
            <pc:sldMk cId="1150287506" sldId="418"/>
            <ac:picMk id="128" creationId="{947B616D-BAE6-422D-B5B9-7F2C234F7622}"/>
          </ac:picMkLst>
        </pc:picChg>
        <pc:picChg chg="del">
          <ac:chgData name="Lorenzo Pigozzi" userId="d2dd6adb-d6c5-40e2-988b-f8d78eb1005e" providerId="ADAL" clId="{6C8A582D-7400-46A1-AEF7-5779C53F8DEF}" dt="2021-02-28T12:40:27.141" v="87" actId="478"/>
          <ac:picMkLst>
            <pc:docMk/>
            <pc:sldMk cId="1150287506" sldId="418"/>
            <ac:picMk id="129" creationId="{2CC4A631-93EB-4652-AACC-E4D5DC55F15D}"/>
          </ac:picMkLst>
        </pc:picChg>
        <pc:picChg chg="del">
          <ac:chgData name="Lorenzo Pigozzi" userId="d2dd6adb-d6c5-40e2-988b-f8d78eb1005e" providerId="ADAL" clId="{6C8A582D-7400-46A1-AEF7-5779C53F8DEF}" dt="2021-02-28T12:40:22.389" v="85" actId="478"/>
          <ac:picMkLst>
            <pc:docMk/>
            <pc:sldMk cId="1150287506" sldId="418"/>
            <ac:picMk id="130" creationId="{EB7C38D6-6616-40EB-9B4E-6C89CE598219}"/>
          </ac:picMkLst>
        </pc:picChg>
        <pc:picChg chg="del topLvl">
          <ac:chgData name="Lorenzo Pigozzi" userId="d2dd6adb-d6c5-40e2-988b-f8d78eb1005e" providerId="ADAL" clId="{6C8A582D-7400-46A1-AEF7-5779C53F8DEF}" dt="2021-02-28T20:20:57.615" v="1051" actId="478"/>
          <ac:picMkLst>
            <pc:docMk/>
            <pc:sldMk cId="1150287506" sldId="418"/>
            <ac:picMk id="132" creationId="{6A66AEC0-10E0-423E-A89D-FB65EE3500CC}"/>
          </ac:picMkLst>
        </pc:picChg>
        <pc:picChg chg="del topLvl">
          <ac:chgData name="Lorenzo Pigozzi" userId="d2dd6adb-d6c5-40e2-988b-f8d78eb1005e" providerId="ADAL" clId="{6C8A582D-7400-46A1-AEF7-5779C53F8DEF}" dt="2021-02-28T12:40:20.212" v="84" actId="478"/>
          <ac:picMkLst>
            <pc:docMk/>
            <pc:sldMk cId="1150287506" sldId="418"/>
            <ac:picMk id="133" creationId="{C2E26312-2282-4B86-AA15-00B0491A73A6}"/>
          </ac:picMkLst>
        </pc:picChg>
        <pc:picChg chg="del">
          <ac:chgData name="Lorenzo Pigozzi" userId="d2dd6adb-d6c5-40e2-988b-f8d78eb1005e" providerId="ADAL" clId="{6C8A582D-7400-46A1-AEF7-5779C53F8DEF}" dt="2021-02-28T12:40:17.481" v="83" actId="478"/>
          <ac:picMkLst>
            <pc:docMk/>
            <pc:sldMk cId="1150287506" sldId="418"/>
            <ac:picMk id="134" creationId="{3281A18F-FB27-4DE2-BE68-1D088736F7BA}"/>
          </ac:picMkLst>
        </pc:picChg>
        <pc:picChg chg="del">
          <ac:chgData name="Lorenzo Pigozzi" userId="d2dd6adb-d6c5-40e2-988b-f8d78eb1005e" providerId="ADAL" clId="{6C8A582D-7400-46A1-AEF7-5779C53F8DEF}" dt="2021-02-28T12:40:14.972" v="82" actId="478"/>
          <ac:picMkLst>
            <pc:docMk/>
            <pc:sldMk cId="1150287506" sldId="418"/>
            <ac:picMk id="135" creationId="{F2CDA064-62B9-45DB-996D-031AC63C059A}"/>
          </ac:picMkLst>
        </pc:picChg>
        <pc:picChg chg="del">
          <ac:chgData name="Lorenzo Pigozzi" userId="d2dd6adb-d6c5-40e2-988b-f8d78eb1005e" providerId="ADAL" clId="{6C8A582D-7400-46A1-AEF7-5779C53F8DEF}" dt="2021-02-28T12:40:03.054" v="77" actId="478"/>
          <ac:picMkLst>
            <pc:docMk/>
            <pc:sldMk cId="1150287506" sldId="418"/>
            <ac:picMk id="136" creationId="{E9612B29-2594-4E1B-80D3-CEE4DFC39193}"/>
          </ac:picMkLst>
        </pc:picChg>
        <pc:picChg chg="del">
          <ac:chgData name="Lorenzo Pigozzi" userId="d2dd6adb-d6c5-40e2-988b-f8d78eb1005e" providerId="ADAL" clId="{6C8A582D-7400-46A1-AEF7-5779C53F8DEF}" dt="2021-02-28T12:40:12.819" v="81" actId="478"/>
          <ac:picMkLst>
            <pc:docMk/>
            <pc:sldMk cId="1150287506" sldId="418"/>
            <ac:picMk id="137" creationId="{017D2C3A-5253-484F-810D-379D83AC69E1}"/>
          </ac:picMkLst>
        </pc:picChg>
        <pc:picChg chg="del">
          <ac:chgData name="Lorenzo Pigozzi" userId="d2dd6adb-d6c5-40e2-988b-f8d78eb1005e" providerId="ADAL" clId="{6C8A582D-7400-46A1-AEF7-5779C53F8DEF}" dt="2021-02-28T12:40:10.826" v="80" actId="478"/>
          <ac:picMkLst>
            <pc:docMk/>
            <pc:sldMk cId="1150287506" sldId="418"/>
            <ac:picMk id="138" creationId="{EEF98B18-FD91-47A7-8AA5-68D4C61916EC}"/>
          </ac:picMkLst>
        </pc:picChg>
        <pc:picChg chg="del">
          <ac:chgData name="Lorenzo Pigozzi" userId="d2dd6adb-d6c5-40e2-988b-f8d78eb1005e" providerId="ADAL" clId="{6C8A582D-7400-46A1-AEF7-5779C53F8DEF}" dt="2021-02-28T12:40:08.565" v="79" actId="478"/>
          <ac:picMkLst>
            <pc:docMk/>
            <pc:sldMk cId="1150287506" sldId="418"/>
            <ac:picMk id="139" creationId="{030D3F93-5C73-44C1-9EFC-E7DB0E8750C9}"/>
          </ac:picMkLst>
        </pc:picChg>
        <pc:picChg chg="del">
          <ac:chgData name="Lorenzo Pigozzi" userId="d2dd6adb-d6c5-40e2-988b-f8d78eb1005e" providerId="ADAL" clId="{6C8A582D-7400-46A1-AEF7-5779C53F8DEF}" dt="2021-02-28T12:40:06.293" v="78" actId="478"/>
          <ac:picMkLst>
            <pc:docMk/>
            <pc:sldMk cId="1150287506" sldId="418"/>
            <ac:picMk id="140" creationId="{6919843C-8021-46AF-A9A6-3C6BCA168CEA}"/>
          </ac:picMkLst>
        </pc:picChg>
        <pc:picChg chg="del">
          <ac:chgData name="Lorenzo Pigozzi" userId="d2dd6adb-d6c5-40e2-988b-f8d78eb1005e" providerId="ADAL" clId="{6C8A582D-7400-46A1-AEF7-5779C53F8DEF}" dt="2021-02-28T12:40:01.032" v="76" actId="478"/>
          <ac:picMkLst>
            <pc:docMk/>
            <pc:sldMk cId="1150287506" sldId="418"/>
            <ac:picMk id="141" creationId="{BAA6D6CA-AB47-4477-B03C-B03CEFBA3197}"/>
          </ac:picMkLst>
        </pc:picChg>
        <pc:picChg chg="topLvl">
          <ac:chgData name="Lorenzo Pigozzi" userId="d2dd6adb-d6c5-40e2-988b-f8d78eb1005e" providerId="ADAL" clId="{6C8A582D-7400-46A1-AEF7-5779C53F8DEF}" dt="2021-02-28T20:20:25.551" v="1042" actId="478"/>
          <ac:picMkLst>
            <pc:docMk/>
            <pc:sldMk cId="1150287506" sldId="418"/>
            <ac:picMk id="143" creationId="{C6FD19B6-A3A3-4DC4-93CB-32296FCC6D9B}"/>
          </ac:picMkLst>
        </pc:picChg>
        <pc:picChg chg="del mod topLvl">
          <ac:chgData name="Lorenzo Pigozzi" userId="d2dd6adb-d6c5-40e2-988b-f8d78eb1005e" providerId="ADAL" clId="{6C8A582D-7400-46A1-AEF7-5779C53F8DEF}" dt="2021-02-28T20:20:25.551" v="1042" actId="478"/>
          <ac:picMkLst>
            <pc:docMk/>
            <pc:sldMk cId="1150287506" sldId="418"/>
            <ac:picMk id="144" creationId="{F1CBF6D7-83EF-4EA3-9BE9-364D684C6A53}"/>
          </ac:picMkLst>
        </pc:picChg>
        <pc:picChg chg="del mod">
          <ac:chgData name="Lorenzo Pigozzi" userId="d2dd6adb-d6c5-40e2-988b-f8d78eb1005e" providerId="ADAL" clId="{6C8A582D-7400-46A1-AEF7-5779C53F8DEF}" dt="2021-02-28T20:20:22.212" v="1041" actId="478"/>
          <ac:picMkLst>
            <pc:docMk/>
            <pc:sldMk cId="1150287506" sldId="418"/>
            <ac:picMk id="145" creationId="{512C6D79-2FE4-415F-9EEC-FB6BA16050BE}"/>
          </ac:picMkLst>
        </pc:picChg>
        <pc:picChg chg="del mod">
          <ac:chgData name="Lorenzo Pigozzi" userId="d2dd6adb-d6c5-40e2-988b-f8d78eb1005e" providerId="ADAL" clId="{6C8A582D-7400-46A1-AEF7-5779C53F8DEF}" dt="2021-02-28T20:20:19.995" v="1040" actId="478"/>
          <ac:picMkLst>
            <pc:docMk/>
            <pc:sldMk cId="1150287506" sldId="418"/>
            <ac:picMk id="146" creationId="{D365A16B-95C4-4520-81DC-8355CC1714E1}"/>
          </ac:picMkLst>
        </pc:picChg>
        <pc:picChg chg="del">
          <ac:chgData name="Lorenzo Pigozzi" userId="d2dd6adb-d6c5-40e2-988b-f8d78eb1005e" providerId="ADAL" clId="{6C8A582D-7400-46A1-AEF7-5779C53F8DEF}" dt="2021-02-28T12:41:05.551" v="101" actId="478"/>
          <ac:picMkLst>
            <pc:docMk/>
            <pc:sldMk cId="1150287506" sldId="418"/>
            <ac:picMk id="147" creationId="{0CE10D11-AE7B-49E4-834C-F8C17C55CDD9}"/>
          </ac:picMkLst>
        </pc:picChg>
        <pc:picChg chg="del mod">
          <ac:chgData name="Lorenzo Pigozzi" userId="d2dd6adb-d6c5-40e2-988b-f8d78eb1005e" providerId="ADAL" clId="{6C8A582D-7400-46A1-AEF7-5779C53F8DEF}" dt="2021-02-28T20:20:17.650" v="1039" actId="478"/>
          <ac:picMkLst>
            <pc:docMk/>
            <pc:sldMk cId="1150287506" sldId="418"/>
            <ac:picMk id="148" creationId="{5F1A9C05-34F9-4C96-8740-EEF289C0332C}"/>
          </ac:picMkLst>
        </pc:picChg>
        <pc:picChg chg="del">
          <ac:chgData name="Lorenzo Pigozzi" userId="d2dd6adb-d6c5-40e2-988b-f8d78eb1005e" providerId="ADAL" clId="{6C8A582D-7400-46A1-AEF7-5779C53F8DEF}" dt="2021-02-28T12:40:57.987" v="98" actId="478"/>
          <ac:picMkLst>
            <pc:docMk/>
            <pc:sldMk cId="1150287506" sldId="418"/>
            <ac:picMk id="149" creationId="{4CF09D24-9CA1-46A8-ACA4-ACDFBC740436}"/>
          </ac:picMkLst>
        </pc:picChg>
        <pc:picChg chg="del">
          <ac:chgData name="Lorenzo Pigozzi" userId="d2dd6adb-d6c5-40e2-988b-f8d78eb1005e" providerId="ADAL" clId="{6C8A582D-7400-46A1-AEF7-5779C53F8DEF}" dt="2021-02-28T12:41:00.820" v="99" actId="478"/>
          <ac:picMkLst>
            <pc:docMk/>
            <pc:sldMk cId="1150287506" sldId="418"/>
            <ac:picMk id="150" creationId="{B29F350E-B89C-42CD-A55B-6220791997F8}"/>
          </ac:picMkLst>
        </pc:picChg>
        <pc:picChg chg="del">
          <ac:chgData name="Lorenzo Pigozzi" userId="d2dd6adb-d6c5-40e2-988b-f8d78eb1005e" providerId="ADAL" clId="{6C8A582D-7400-46A1-AEF7-5779C53F8DEF}" dt="2021-02-28T12:41:03.019" v="100" actId="478"/>
          <ac:picMkLst>
            <pc:docMk/>
            <pc:sldMk cId="1150287506" sldId="418"/>
            <ac:picMk id="151" creationId="{572E6261-0BA1-42F4-AEE0-6784B59B2BFE}"/>
          </ac:picMkLst>
        </pc:picChg>
        <pc:picChg chg="del">
          <ac:chgData name="Lorenzo Pigozzi" userId="d2dd6adb-d6c5-40e2-988b-f8d78eb1005e" providerId="ADAL" clId="{6C8A582D-7400-46A1-AEF7-5779C53F8DEF}" dt="2021-02-28T12:40:43.318" v="95" actId="478"/>
          <ac:picMkLst>
            <pc:docMk/>
            <pc:sldMk cId="1150287506" sldId="418"/>
            <ac:picMk id="152" creationId="{4957E5D0-CF33-4A4C-AA01-0AD1C9538998}"/>
          </ac:picMkLst>
        </pc:picChg>
        <pc:picChg chg="add mod">
          <ac:chgData name="Lorenzo Pigozzi" userId="d2dd6adb-d6c5-40e2-988b-f8d78eb1005e" providerId="ADAL" clId="{6C8A582D-7400-46A1-AEF7-5779C53F8DEF}" dt="2021-02-28T20:11:31.715" v="993" actId="1076"/>
          <ac:picMkLst>
            <pc:docMk/>
            <pc:sldMk cId="1150287506" sldId="418"/>
            <ac:picMk id="1026" creationId="{A163BB86-C311-410C-9EBA-9F8E73FF5310}"/>
          </ac:picMkLst>
        </pc:picChg>
      </pc:sldChg>
    </pc:docChg>
  </pc:docChgLst>
  <pc:docChgLst>
    <pc:chgData name="Nguyen Huy Phuc" userId="39983119-1711-4590-83db-de8f3c63f687" providerId="ADAL" clId="{A580AF81-DDD7-431D-8218-29D8B99B23C4}"/>
    <pc:docChg chg="undo custSel addSld delSld modSld sldOrd modMainMaster modSection">
      <pc:chgData name="Nguyen Huy Phuc" userId="39983119-1711-4590-83db-de8f3c63f687" providerId="ADAL" clId="{A580AF81-DDD7-431D-8218-29D8B99B23C4}" dt="2021-03-01T14:49:58.694" v="1542" actId="20577"/>
      <pc:docMkLst>
        <pc:docMk/>
      </pc:docMkLst>
      <pc:sldChg chg="modSp mod">
        <pc:chgData name="Nguyen Huy Phuc" userId="39983119-1711-4590-83db-de8f3c63f687" providerId="ADAL" clId="{A580AF81-DDD7-431D-8218-29D8B99B23C4}" dt="2021-03-01T13:57:12.697" v="1462" actId="113"/>
        <pc:sldMkLst>
          <pc:docMk/>
          <pc:sldMk cId="1396948049" sldId="364"/>
        </pc:sldMkLst>
        <pc:spChg chg="mod">
          <ac:chgData name="Nguyen Huy Phuc" userId="39983119-1711-4590-83db-de8f3c63f687" providerId="ADAL" clId="{A580AF81-DDD7-431D-8218-29D8B99B23C4}" dt="2021-03-01T13:57:12.697" v="1462" actId="113"/>
          <ac:spMkLst>
            <pc:docMk/>
            <pc:sldMk cId="1396948049" sldId="364"/>
            <ac:spMk id="2" creationId="{777FA272-81FF-4343-9258-0AAF03644D0D}"/>
          </ac:spMkLst>
        </pc:spChg>
      </pc:sldChg>
      <pc:sldChg chg="delSp modSp mod">
        <pc:chgData name="Nguyen Huy Phuc" userId="39983119-1711-4590-83db-de8f3c63f687" providerId="ADAL" clId="{A580AF81-DDD7-431D-8218-29D8B99B23C4}" dt="2021-03-01T12:47:26.877" v="707" actId="1076"/>
        <pc:sldMkLst>
          <pc:docMk/>
          <pc:sldMk cId="2388466474" sldId="375"/>
        </pc:sldMkLst>
        <pc:spChg chg="mod">
          <ac:chgData name="Nguyen Huy Phuc" userId="39983119-1711-4590-83db-de8f3c63f687" providerId="ADAL" clId="{A580AF81-DDD7-431D-8218-29D8B99B23C4}" dt="2021-03-01T12:47:26.877" v="707" actId="1076"/>
          <ac:spMkLst>
            <pc:docMk/>
            <pc:sldMk cId="2388466474" sldId="375"/>
            <ac:spMk id="4" creationId="{4DE935CE-2452-A541-AB13-114D03968CA1}"/>
          </ac:spMkLst>
        </pc:spChg>
        <pc:spChg chg="del">
          <ac:chgData name="Nguyen Huy Phuc" userId="39983119-1711-4590-83db-de8f3c63f687" providerId="ADAL" clId="{A580AF81-DDD7-431D-8218-29D8B99B23C4}" dt="2021-02-27T18:06:50.855" v="313" actId="478"/>
          <ac:spMkLst>
            <pc:docMk/>
            <pc:sldMk cId="2388466474" sldId="375"/>
            <ac:spMk id="54" creationId="{2CBA8E54-9124-8B42-A7B4-5C550536EA8F}"/>
          </ac:spMkLst>
        </pc:spChg>
      </pc:sldChg>
      <pc:sldChg chg="del">
        <pc:chgData name="Nguyen Huy Phuc" userId="39983119-1711-4590-83db-de8f3c63f687" providerId="ADAL" clId="{A580AF81-DDD7-431D-8218-29D8B99B23C4}" dt="2021-03-01T12:04:12.134" v="679" actId="47"/>
        <pc:sldMkLst>
          <pc:docMk/>
          <pc:sldMk cId="2395609272" sldId="382"/>
        </pc:sldMkLst>
      </pc:sldChg>
      <pc:sldChg chg="addSp modSp mod">
        <pc:chgData name="Nguyen Huy Phuc" userId="39983119-1711-4590-83db-de8f3c63f687" providerId="ADAL" clId="{A580AF81-DDD7-431D-8218-29D8B99B23C4}" dt="2021-03-01T12:13:38.746" v="700" actId="14100"/>
        <pc:sldMkLst>
          <pc:docMk/>
          <pc:sldMk cId="247722515" sldId="390"/>
        </pc:sldMkLst>
        <pc:spChg chg="mod">
          <ac:chgData name="Nguyen Huy Phuc" userId="39983119-1711-4590-83db-de8f3c63f687" providerId="ADAL" clId="{A580AF81-DDD7-431D-8218-29D8B99B23C4}" dt="2021-03-01T12:04:08.324" v="678" actId="20577"/>
          <ac:spMkLst>
            <pc:docMk/>
            <pc:sldMk cId="247722515" sldId="390"/>
            <ac:spMk id="2" creationId="{777FA272-81FF-4343-9258-0AAF03644D0D}"/>
          </ac:spMkLst>
        </pc:spChg>
        <pc:picChg chg="add mod">
          <ac:chgData name="Nguyen Huy Phuc" userId="39983119-1711-4590-83db-de8f3c63f687" providerId="ADAL" clId="{A580AF81-DDD7-431D-8218-29D8B99B23C4}" dt="2021-03-01T12:13:38.746" v="700" actId="14100"/>
          <ac:picMkLst>
            <pc:docMk/>
            <pc:sldMk cId="247722515" sldId="390"/>
            <ac:picMk id="9" creationId="{945BC665-5BDD-4B15-8840-CC7D2F76DD11}"/>
          </ac:picMkLst>
        </pc:picChg>
      </pc:sldChg>
      <pc:sldChg chg="del">
        <pc:chgData name="Nguyen Huy Phuc" userId="39983119-1711-4590-83db-de8f3c63f687" providerId="ADAL" clId="{A580AF81-DDD7-431D-8218-29D8B99B23C4}" dt="2021-03-01T13:54:18.738" v="1452" actId="47"/>
        <pc:sldMkLst>
          <pc:docMk/>
          <pc:sldMk cId="1057397274" sldId="413"/>
        </pc:sldMkLst>
      </pc:sldChg>
      <pc:sldChg chg="addSp delSp modSp mod modShow">
        <pc:chgData name="Nguyen Huy Phuc" userId="39983119-1711-4590-83db-de8f3c63f687" providerId="ADAL" clId="{A580AF81-DDD7-431D-8218-29D8B99B23C4}" dt="2021-03-01T14:04:04.126" v="1538" actId="729"/>
        <pc:sldMkLst>
          <pc:docMk/>
          <pc:sldMk cId="1375137510" sldId="414"/>
        </pc:sldMkLst>
        <pc:spChg chg="del">
          <ac:chgData name="Nguyen Huy Phuc" userId="39983119-1711-4590-83db-de8f3c63f687" providerId="ADAL" clId="{A580AF81-DDD7-431D-8218-29D8B99B23C4}" dt="2021-03-01T13:56:59.911" v="1455" actId="478"/>
          <ac:spMkLst>
            <pc:docMk/>
            <pc:sldMk cId="1375137510" sldId="414"/>
            <ac:spMk id="4" creationId="{BB2C13D2-A34C-48A5-A259-637922E42C28}"/>
          </ac:spMkLst>
        </pc:spChg>
        <pc:spChg chg="add del mod">
          <ac:chgData name="Nguyen Huy Phuc" userId="39983119-1711-4590-83db-de8f3c63f687" providerId="ADAL" clId="{A580AF81-DDD7-431D-8218-29D8B99B23C4}" dt="2021-03-01T13:57:02.175" v="1458" actId="478"/>
          <ac:spMkLst>
            <pc:docMk/>
            <pc:sldMk cId="1375137510" sldId="414"/>
            <ac:spMk id="10" creationId="{8CA3A0BE-BF36-443D-BB08-D8C2C0EE413B}"/>
          </ac:spMkLst>
        </pc:spChg>
        <pc:spChg chg="del mod">
          <ac:chgData name="Nguyen Huy Phuc" userId="39983119-1711-4590-83db-de8f3c63f687" providerId="ADAL" clId="{A580AF81-DDD7-431D-8218-29D8B99B23C4}" dt="2021-03-01T14:03:12.327" v="1520" actId="478"/>
          <ac:spMkLst>
            <pc:docMk/>
            <pc:sldMk cId="1375137510" sldId="414"/>
            <ac:spMk id="10" creationId="{CBE6B910-4864-459C-9EB8-3C77FF7E55CD}"/>
          </ac:spMkLst>
        </pc:spChg>
        <pc:spChg chg="mod">
          <ac:chgData name="Nguyen Huy Phuc" userId="39983119-1711-4590-83db-de8f3c63f687" providerId="ADAL" clId="{A580AF81-DDD7-431D-8218-29D8B99B23C4}" dt="2021-03-01T14:03:04.846" v="1518" actId="20577"/>
          <ac:spMkLst>
            <pc:docMk/>
            <pc:sldMk cId="1375137510" sldId="414"/>
            <ac:spMk id="13" creationId="{9A0A375C-A0C1-49B7-8E3C-BB3F71CFC925}"/>
          </ac:spMkLst>
        </pc:spChg>
        <pc:spChg chg="add del mod">
          <ac:chgData name="Nguyen Huy Phuc" userId="39983119-1711-4590-83db-de8f3c63f687" providerId="ADAL" clId="{A580AF81-DDD7-431D-8218-29D8B99B23C4}" dt="2021-03-01T13:57:00.733" v="1457"/>
          <ac:spMkLst>
            <pc:docMk/>
            <pc:sldMk cId="1375137510" sldId="414"/>
            <ac:spMk id="18" creationId="{F69DF98B-E12E-4823-958D-A74FEF8D5A22}"/>
          </ac:spMkLst>
        </pc:spChg>
        <pc:spChg chg="add mod">
          <ac:chgData name="Nguyen Huy Phuc" userId="39983119-1711-4590-83db-de8f3c63f687" providerId="ADAL" clId="{A580AF81-DDD7-431D-8218-29D8B99B23C4}" dt="2021-03-01T13:57:02.323" v="1459"/>
          <ac:spMkLst>
            <pc:docMk/>
            <pc:sldMk cId="1375137510" sldId="414"/>
            <ac:spMk id="19" creationId="{608484F2-4CE6-4CC5-9CDE-182540F8D259}"/>
          </ac:spMkLst>
        </pc:spChg>
        <pc:picChg chg="mod">
          <ac:chgData name="Nguyen Huy Phuc" userId="39983119-1711-4590-83db-de8f3c63f687" providerId="ADAL" clId="{A580AF81-DDD7-431D-8218-29D8B99B23C4}" dt="2021-03-01T12:11:11.244" v="696" actId="14100"/>
          <ac:picMkLst>
            <pc:docMk/>
            <pc:sldMk cId="1375137510" sldId="414"/>
            <ac:picMk id="5" creationId="{3122F3E5-9030-4E79-A655-6FE420A1063D}"/>
          </ac:picMkLst>
        </pc:picChg>
        <pc:picChg chg="mod">
          <ac:chgData name="Nguyen Huy Phuc" userId="39983119-1711-4590-83db-de8f3c63f687" providerId="ADAL" clId="{A580AF81-DDD7-431D-8218-29D8B99B23C4}" dt="2021-02-27T16:39:29.123" v="233" actId="1076"/>
          <ac:picMkLst>
            <pc:docMk/>
            <pc:sldMk cId="1375137510" sldId="414"/>
            <ac:picMk id="2050" creationId="{107BAD7E-A1D4-4DE1-836F-F10180ABDF3E}"/>
          </ac:picMkLst>
        </pc:picChg>
      </pc:sldChg>
      <pc:sldChg chg="del">
        <pc:chgData name="Nguyen Huy Phuc" userId="39983119-1711-4590-83db-de8f3c63f687" providerId="ADAL" clId="{A580AF81-DDD7-431D-8218-29D8B99B23C4}" dt="2021-03-01T13:54:19.708" v="1453" actId="47"/>
        <pc:sldMkLst>
          <pc:docMk/>
          <pc:sldMk cId="2462811213" sldId="416"/>
        </pc:sldMkLst>
      </pc:sldChg>
      <pc:sldChg chg="del">
        <pc:chgData name="Nguyen Huy Phuc" userId="39983119-1711-4590-83db-de8f3c63f687" providerId="ADAL" clId="{A580AF81-DDD7-431D-8218-29D8B99B23C4}" dt="2021-03-01T13:54:22.882" v="1454" actId="47"/>
        <pc:sldMkLst>
          <pc:docMk/>
          <pc:sldMk cId="4183414275" sldId="417"/>
        </pc:sldMkLst>
      </pc:sldChg>
      <pc:sldChg chg="modSp mod">
        <pc:chgData name="Nguyen Huy Phuc" userId="39983119-1711-4590-83db-de8f3c63f687" providerId="ADAL" clId="{A580AF81-DDD7-431D-8218-29D8B99B23C4}" dt="2021-03-01T11:49:38.593" v="560" actId="1076"/>
        <pc:sldMkLst>
          <pc:docMk/>
          <pc:sldMk cId="1150287506" sldId="418"/>
        </pc:sldMkLst>
        <pc:spChg chg="mod">
          <ac:chgData name="Nguyen Huy Phuc" userId="39983119-1711-4590-83db-de8f3c63f687" providerId="ADAL" clId="{A580AF81-DDD7-431D-8218-29D8B99B23C4}" dt="2021-03-01T01:07:19.372" v="510" actId="20577"/>
          <ac:spMkLst>
            <pc:docMk/>
            <pc:sldMk cId="1150287506" sldId="418"/>
            <ac:spMk id="5" creationId="{BF2884ED-221C-4B17-84A5-F9F246995096}"/>
          </ac:spMkLst>
        </pc:spChg>
        <pc:spChg chg="mod">
          <ac:chgData name="Nguyen Huy Phuc" userId="39983119-1711-4590-83db-de8f3c63f687" providerId="ADAL" clId="{A580AF81-DDD7-431D-8218-29D8B99B23C4}" dt="2021-03-01T11:49:38.593" v="560" actId="1076"/>
          <ac:spMkLst>
            <pc:docMk/>
            <pc:sldMk cId="1150287506" sldId="418"/>
            <ac:spMk id="11" creationId="{F27522A6-45AE-4EB0-BB91-A3F4AD49251F}"/>
          </ac:spMkLst>
        </pc:spChg>
      </pc:sldChg>
      <pc:sldChg chg="addSp delSp modSp mod">
        <pc:chgData name="Nguyen Huy Phuc" userId="39983119-1711-4590-83db-de8f3c63f687" providerId="ADAL" clId="{A580AF81-DDD7-431D-8218-29D8B99B23C4}" dt="2021-03-01T14:03:42.663" v="1537" actId="20577"/>
        <pc:sldMkLst>
          <pc:docMk/>
          <pc:sldMk cId="110023984" sldId="421"/>
        </pc:sldMkLst>
        <pc:spChg chg="mod">
          <ac:chgData name="Nguyen Huy Phuc" userId="39983119-1711-4590-83db-de8f3c63f687" providerId="ADAL" clId="{A580AF81-DDD7-431D-8218-29D8B99B23C4}" dt="2021-03-01T14:03:42.663" v="1537" actId="20577"/>
          <ac:spMkLst>
            <pc:docMk/>
            <pc:sldMk cId="110023984" sldId="421"/>
            <ac:spMk id="7" creationId="{1CC8365B-B0D0-4316-90D9-71BB8A4A0556}"/>
          </ac:spMkLst>
        </pc:spChg>
        <pc:grpChg chg="del">
          <ac:chgData name="Nguyen Huy Phuc" userId="39983119-1711-4590-83db-de8f3c63f687" providerId="ADAL" clId="{A580AF81-DDD7-431D-8218-29D8B99B23C4}" dt="2021-03-01T11:48:38.914" v="557" actId="165"/>
          <ac:grpSpMkLst>
            <pc:docMk/>
            <pc:sldMk cId="110023984" sldId="421"/>
            <ac:grpSpMk id="106" creationId="{61A4F6C8-8C7A-4443-84BA-FC0BFD056D99}"/>
          </ac:grpSpMkLst>
        </pc:grpChg>
        <pc:grpChg chg="del">
          <ac:chgData name="Nguyen Huy Phuc" userId="39983119-1711-4590-83db-de8f3c63f687" providerId="ADAL" clId="{A580AF81-DDD7-431D-8218-29D8B99B23C4}" dt="2021-03-01T11:48:38.914" v="557" actId="165"/>
          <ac:grpSpMkLst>
            <pc:docMk/>
            <pc:sldMk cId="110023984" sldId="421"/>
            <ac:grpSpMk id="117" creationId="{DC04766B-C093-47EA-88EB-5754A7E12F6D}"/>
          </ac:grpSpMkLst>
        </pc:grpChg>
        <pc:grpChg chg="del">
          <ac:chgData name="Nguyen Huy Phuc" userId="39983119-1711-4590-83db-de8f3c63f687" providerId="ADAL" clId="{A580AF81-DDD7-431D-8218-29D8B99B23C4}" dt="2021-03-01T11:48:38.914" v="557" actId="165"/>
          <ac:grpSpMkLst>
            <pc:docMk/>
            <pc:sldMk cId="110023984" sldId="421"/>
            <ac:grpSpMk id="161" creationId="{2EB6AC4A-F3AF-463F-8CE8-AFFD91EB201D}"/>
          </ac:grpSpMkLst>
        </pc:grpChg>
        <pc:grpChg chg="del">
          <ac:chgData name="Nguyen Huy Phuc" userId="39983119-1711-4590-83db-de8f3c63f687" providerId="ADAL" clId="{A580AF81-DDD7-431D-8218-29D8B99B23C4}" dt="2021-03-01T11:48:38.914" v="557" actId="165"/>
          <ac:grpSpMkLst>
            <pc:docMk/>
            <pc:sldMk cId="110023984" sldId="421"/>
            <ac:grpSpMk id="172" creationId="{639D5169-20A4-4AE9-8C4B-D9A223A557D6}"/>
          </ac:grpSpMkLst>
        </pc:grpChg>
        <pc:grpChg chg="del">
          <ac:chgData name="Nguyen Huy Phuc" userId="39983119-1711-4590-83db-de8f3c63f687" providerId="ADAL" clId="{A580AF81-DDD7-431D-8218-29D8B99B23C4}" dt="2021-03-01T11:48:34.311" v="556" actId="165"/>
          <ac:grpSpMkLst>
            <pc:docMk/>
            <pc:sldMk cId="110023984" sldId="421"/>
            <ac:grpSpMk id="183" creationId="{522D9CF6-DD16-4580-9AE5-AC8CD8EC6344}"/>
          </ac:grpSpMkLst>
        </pc:grpChg>
        <pc:grpChg chg="del">
          <ac:chgData name="Nguyen Huy Phuc" userId="39983119-1711-4590-83db-de8f3c63f687" providerId="ADAL" clId="{A580AF81-DDD7-431D-8218-29D8B99B23C4}" dt="2021-03-01T11:48:38.914" v="557" actId="165"/>
          <ac:grpSpMkLst>
            <pc:docMk/>
            <pc:sldMk cId="110023984" sldId="421"/>
            <ac:grpSpMk id="194" creationId="{2473CB30-A1F8-4757-A022-63F54FDFF8F9}"/>
          </ac:grpSpMkLst>
        </pc:grpChg>
        <pc:picChg chg="add mod">
          <ac:chgData name="Nguyen Huy Phuc" userId="39983119-1711-4590-83db-de8f3c63f687" providerId="ADAL" clId="{A580AF81-DDD7-431D-8218-29D8B99B23C4}" dt="2021-03-01T11:48:29.474" v="555"/>
          <ac:picMkLst>
            <pc:docMk/>
            <pc:sldMk cId="110023984" sldId="421"/>
            <ac:picMk id="87" creationId="{4CD9EEBE-3716-45EA-87D2-A5C03B9B23EC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07" creationId="{364735DE-E33D-41C8-B355-C3C4C47C84CA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08" creationId="{39C20CA9-FFD5-4633-BA48-0EB8C8BA023D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09" creationId="{1F526226-6958-481C-8462-191300092137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0" creationId="{FA6CD5A6-87B3-434F-AD07-91007349DBE0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1" creationId="{D0DE19F6-8DE8-4BC8-B75F-0A50B783A8C7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2" creationId="{AF6A83B4-3052-422F-83A9-0AF34F694C6B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3" creationId="{3790D0AB-6C49-4B13-9DEF-9A81EAEF2487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4" creationId="{8F1D9EE7-835F-4C19-81B0-5001CB23DFC8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5" creationId="{3206E0C9-92B7-49BB-AB5C-00923DC08531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16" creationId="{E60C3D76-0D38-4276-824A-CE09BBD24F48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18" creationId="{B368716C-D155-4336-B7C9-2E9F3DBD287C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19" creationId="{B3D57D6E-E4E4-4DB6-BD0C-A40C6441FF37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53" creationId="{2F864DFA-9484-49DC-A6C7-F466BFD56FE2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4" creationId="{070BCB34-9B7E-4B96-BBB9-2147551BD07F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5" creationId="{D22236CD-4196-4339-9961-85D3BEB36DB9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6" creationId="{ED74A6FF-61A1-421B-81EE-E5302CC6BB11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7" creationId="{DAE219B3-609C-43ED-B10A-46FB3F7928C6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8" creationId="{E7A6E3ED-ACD3-4B2B-AB9E-E9BBB500716E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59" creationId="{A1C2B72E-2E5F-4562-9B37-329C3DA3AA0B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0" creationId="{446BC602-A36C-4327-902C-4BB14655853B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62" creationId="{172992E9-45F8-4DB0-BF29-7E4A321668BE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63" creationId="{FCDB0AFB-D679-4FFC-B7CB-D996E0398681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64" creationId="{73E386FC-24E5-4EA6-A73A-100A61C2713B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5" creationId="{031FE1DD-EF50-43BF-AE3C-32BBAB4E6B94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6" creationId="{5B73651A-5145-49DC-87CD-0F08C24912C7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7" creationId="{B692ACF3-3F23-45D0-B68D-A848CB72B810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8" creationId="{6E86E1E1-8DBB-475C-AAFE-3D04123E90CB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69" creationId="{09DE1514-BCE2-4514-8FDF-4E3C878D3829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0" creationId="{81B70219-BDF1-493B-B7C9-508C7B32A81F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1" creationId="{78E2DFA6-7497-4F00-A06D-BBADF841F501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73" creationId="{99CB0C0A-B076-4134-A9EB-F52BF37679F1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74" creationId="{7529EA0A-4C43-4A69-870B-B2BD2F2BC101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75" creationId="{B641C5C0-3500-453E-BC56-4EB4813F57FE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6" creationId="{70147820-45A8-41F7-9C6A-19E91123F23D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7" creationId="{60EA4417-E013-4E47-A50A-E6E2C02A5174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8" creationId="{29A93C71-A12E-47BF-A07F-463F56D69935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79" creationId="{4C1FCA70-94C1-4FBF-92EC-736BC78C0240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0" creationId="{DBBB32C8-43D4-41A0-A843-16BD500B4132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1" creationId="{2D11DEB7-AE25-41BF-84BE-870CD173F089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2" creationId="{04F3E842-301D-4A35-BFD6-E1F159D30107}"/>
          </ac:picMkLst>
        </pc:picChg>
        <pc:picChg chg="mod topLvl">
          <ac:chgData name="Nguyen Huy Phuc" userId="39983119-1711-4590-83db-de8f3c63f687" providerId="ADAL" clId="{A580AF81-DDD7-431D-8218-29D8B99B23C4}" dt="2021-03-01T11:48:34.311" v="556" actId="165"/>
          <ac:picMkLst>
            <pc:docMk/>
            <pc:sldMk cId="110023984" sldId="421"/>
            <ac:picMk id="184" creationId="{A89D7391-BA01-4540-BC8B-C96D108D88FC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85" creationId="{46DC762A-60F1-4B5A-B57C-4CF067A4F6C7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86" creationId="{3AD94308-D0CE-4E12-A379-837B2AE08F44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7" creationId="{89B37A8F-C4E3-48A8-987E-261A1FFBE71A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8" creationId="{F10B12AF-0475-457F-865A-A933F3D53572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89" creationId="{065088E2-A6E5-4169-82C0-6AFED96E222C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0" creationId="{A27067A3-FBDE-44B0-9C85-EB670CA6E46C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1" creationId="{E65C8C26-B1A2-4AC1-88A7-4F83CCEFC2F6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2" creationId="{CD66FB2D-D51B-4B24-8E0B-28222674A681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3" creationId="{826586A8-76AF-4E22-BBE3-B22BE65310B8}"/>
          </ac:picMkLst>
        </pc:picChg>
        <pc:picChg chg="mod topLvl">
          <ac:chgData name="Nguyen Huy Phuc" userId="39983119-1711-4590-83db-de8f3c63f687" providerId="ADAL" clId="{A580AF81-DDD7-431D-8218-29D8B99B23C4}" dt="2021-03-01T11:48:38.914" v="557" actId="165"/>
          <ac:picMkLst>
            <pc:docMk/>
            <pc:sldMk cId="110023984" sldId="421"/>
            <ac:picMk id="195" creationId="{6B25DB5C-C651-425C-ACFD-C5A383620AA2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96" creationId="{C98BA56F-1AAD-431A-8ECA-E3737C17E482}"/>
          </ac:picMkLst>
        </pc:picChg>
        <pc:picChg chg="del mod topLvl">
          <ac:chgData name="Nguyen Huy Phuc" userId="39983119-1711-4590-83db-de8f3c63f687" providerId="ADAL" clId="{A580AF81-DDD7-431D-8218-29D8B99B23C4}" dt="2021-03-01T11:48:51.864" v="559" actId="478"/>
          <ac:picMkLst>
            <pc:docMk/>
            <pc:sldMk cId="110023984" sldId="421"/>
            <ac:picMk id="197" creationId="{8A1E7D62-7003-48AE-9ED8-CA192DD1CC35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8" creationId="{2ABD058A-40C7-4DE9-842C-F1289237D585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199" creationId="{00CECFFB-F58D-4350-905F-7DE84E68DE5A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200" creationId="{13269D55-7620-4096-97B8-2CED3482AF3A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201" creationId="{FE03FD51-C457-4765-9769-F102E4237193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202" creationId="{066EDDC4-9F31-473A-8F1E-55B86A977F82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203" creationId="{E4A310DD-5C07-48F9-860A-8F7415CCF36A}"/>
          </ac:picMkLst>
        </pc:picChg>
        <pc:picChg chg="del mod topLvl">
          <ac:chgData name="Nguyen Huy Phuc" userId="39983119-1711-4590-83db-de8f3c63f687" providerId="ADAL" clId="{A580AF81-DDD7-431D-8218-29D8B99B23C4}" dt="2021-03-01T11:48:46.492" v="558" actId="478"/>
          <ac:picMkLst>
            <pc:docMk/>
            <pc:sldMk cId="110023984" sldId="421"/>
            <ac:picMk id="204" creationId="{ECD4FBAB-8E30-4225-AC5C-B54451C28151}"/>
          </ac:picMkLst>
        </pc:picChg>
      </pc:sldChg>
      <pc:sldChg chg="addSp delSp modSp mod">
        <pc:chgData name="Nguyen Huy Phuc" userId="39983119-1711-4590-83db-de8f3c63f687" providerId="ADAL" clId="{A580AF81-DDD7-431D-8218-29D8B99B23C4}" dt="2021-03-01T14:49:58.694" v="1542" actId="20577"/>
        <pc:sldMkLst>
          <pc:docMk/>
          <pc:sldMk cId="685570189" sldId="422"/>
        </pc:sldMkLst>
        <pc:spChg chg="mod">
          <ac:chgData name="Nguyen Huy Phuc" userId="39983119-1711-4590-83db-de8f3c63f687" providerId="ADAL" clId="{A580AF81-DDD7-431D-8218-29D8B99B23C4}" dt="2021-02-27T10:11:05.065" v="226" actId="1035"/>
          <ac:spMkLst>
            <pc:docMk/>
            <pc:sldMk cId="685570189" sldId="422"/>
            <ac:spMk id="5" creationId="{E640A599-7AD2-43F6-B373-1E767EA8B327}"/>
          </ac:spMkLst>
        </pc:spChg>
        <pc:spChg chg="mod">
          <ac:chgData name="Nguyen Huy Phuc" userId="39983119-1711-4590-83db-de8f3c63f687" providerId="ADAL" clId="{A580AF81-DDD7-431D-8218-29D8B99B23C4}" dt="2021-02-28T10:23:57.142" v="509" actId="20577"/>
          <ac:spMkLst>
            <pc:docMk/>
            <pc:sldMk cId="685570189" sldId="422"/>
            <ac:spMk id="7" creationId="{1CC8365B-B0D0-4316-90D9-71BB8A4A0556}"/>
          </ac:spMkLst>
        </pc:spChg>
        <pc:spChg chg="mod">
          <ac:chgData name="Nguyen Huy Phuc" userId="39983119-1711-4590-83db-de8f3c63f687" providerId="ADAL" clId="{A580AF81-DDD7-431D-8218-29D8B99B23C4}" dt="2021-03-01T12:09:13.051" v="681" actId="1076"/>
          <ac:spMkLst>
            <pc:docMk/>
            <pc:sldMk cId="685570189" sldId="422"/>
            <ac:spMk id="11" creationId="{09C4DE7B-713B-4129-8B48-98D1B2852726}"/>
          </ac:spMkLst>
        </pc:spChg>
        <pc:spChg chg="mod">
          <ac:chgData name="Nguyen Huy Phuc" userId="39983119-1711-4590-83db-de8f3c63f687" providerId="ADAL" clId="{A580AF81-DDD7-431D-8218-29D8B99B23C4}" dt="2021-03-01T14:49:58.694" v="1542" actId="20577"/>
          <ac:spMkLst>
            <pc:docMk/>
            <pc:sldMk cId="685570189" sldId="422"/>
            <ac:spMk id="13" creationId="{241F2CC6-6FA8-4DCA-8E9F-B6C28CF19795}"/>
          </ac:spMkLst>
        </pc:spChg>
        <pc:spChg chg="add mod">
          <ac:chgData name="Nguyen Huy Phuc" userId="39983119-1711-4590-83db-de8f3c63f687" providerId="ADAL" clId="{A580AF81-DDD7-431D-8218-29D8B99B23C4}" dt="2021-02-28T10:21:45.179" v="470" actId="164"/>
          <ac:spMkLst>
            <pc:docMk/>
            <pc:sldMk cId="685570189" sldId="422"/>
            <ac:spMk id="99" creationId="{04C3FA29-F160-4DBB-A9D1-025761AA9BAA}"/>
          </ac:spMkLst>
        </pc:spChg>
        <pc:spChg chg="add del 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99" creationId="{C9D9E0AB-094F-4693-99C7-39E561E5597D}"/>
          </ac:spMkLst>
        </pc:spChg>
        <pc:spChg chg="add mod">
          <ac:chgData name="Nguyen Huy Phuc" userId="39983119-1711-4590-83db-de8f3c63f687" providerId="ADAL" clId="{A580AF81-DDD7-431D-8218-29D8B99B23C4}" dt="2021-02-28T10:21:45.179" v="470" actId="164"/>
          <ac:spMkLst>
            <pc:docMk/>
            <pc:sldMk cId="685570189" sldId="422"/>
            <ac:spMk id="100" creationId="{2FCA2261-8EBF-4E24-A71F-8BC5CA96C923}"/>
          </ac:spMkLst>
        </pc:spChg>
        <pc:spChg chg="mod">
          <ac:chgData name="Nguyen Huy Phuc" userId="39983119-1711-4590-83db-de8f3c63f687" providerId="ADAL" clId="{A580AF81-DDD7-431D-8218-29D8B99B23C4}" dt="2021-02-28T10:22:04.295" v="478"/>
          <ac:spMkLst>
            <pc:docMk/>
            <pc:sldMk cId="685570189" sldId="422"/>
            <ac:spMk id="103" creationId="{6EC12187-7766-4576-950A-628AF649BC9B}"/>
          </ac:spMkLst>
        </pc:spChg>
        <pc:spChg chg="mod">
          <ac:chgData name="Nguyen Huy Phuc" userId="39983119-1711-4590-83db-de8f3c63f687" providerId="ADAL" clId="{A580AF81-DDD7-431D-8218-29D8B99B23C4}" dt="2021-02-28T10:22:04.295" v="478"/>
          <ac:spMkLst>
            <pc:docMk/>
            <pc:sldMk cId="685570189" sldId="422"/>
            <ac:spMk id="104" creationId="{94757219-A051-4420-ADBD-6D0188B065CD}"/>
          </ac:spMkLst>
        </pc:spChg>
        <pc:spChg chg="mod">
          <ac:chgData name="Nguyen Huy Phuc" userId="39983119-1711-4590-83db-de8f3c63f687" providerId="ADAL" clId="{A580AF81-DDD7-431D-8218-29D8B99B23C4}" dt="2021-03-01T12:09:54.423" v="691" actId="207"/>
          <ac:spMkLst>
            <pc:docMk/>
            <pc:sldMk cId="685570189" sldId="422"/>
            <ac:spMk id="105" creationId="{E404E30A-48E4-47F3-8665-381C89536743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06" creationId="{5D01BD88-B85B-44DA-88FD-039130C4DE9E}"/>
          </ac:spMkLst>
        </pc:spChg>
        <pc:spChg chg="mod">
          <ac:chgData name="Nguyen Huy Phuc" userId="39983119-1711-4590-83db-de8f3c63f687" providerId="ADAL" clId="{A580AF81-DDD7-431D-8218-29D8B99B23C4}" dt="2021-03-01T12:10:07.327" v="692" actId="207"/>
          <ac:spMkLst>
            <pc:docMk/>
            <pc:sldMk cId="685570189" sldId="422"/>
            <ac:spMk id="107" creationId="{9A591731-91EF-406D-9C6D-8A8ACB5E0671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08" creationId="{D67DFA2A-D366-4B00-9370-1C8788D4F007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09" creationId="{21C761C6-9C0B-4C7F-9E12-4E9818FB4D33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0" creationId="{138CCA3B-C4A9-4164-96E8-F9A82128C6E4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1" creationId="{B6EF94D6-8B3E-4C7E-ACE7-8194F8F9A3F4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2" creationId="{270531D0-C7FD-4064-9320-B52AB244CBAB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3" creationId="{D5EF039B-A164-45E1-A53F-BBE23F6DA318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4" creationId="{42965830-D7DC-474D-9DCF-EEDDC8D9A8FF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5" creationId="{22480721-5E1F-49E9-8B02-96868DE3AEBD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6" creationId="{C5852C6F-5B9A-4921-9FEE-58C35B61B1C6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7" creationId="{2F8B3FF6-344D-4389-87D5-267CD05FE44D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8" creationId="{648884FE-3667-4FBE-953E-0D0FF481BA21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19" creationId="{52523412-0AFC-45CD-B864-64DD864A22E0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23" creationId="{7E6E690C-46EB-4313-BB52-AE8B6E0A3C3D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28" creationId="{13E2A0CC-B79E-4419-AB62-78CFCD4825AE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2" creationId="{70A60CB2-3373-4EF7-8C71-896E9BE668A8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3" creationId="{053377D1-86C5-4869-932F-8176D30FA27E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4" creationId="{69F90424-AACB-4FC8-85BC-BF9CA9D9669A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5" creationId="{6E78963C-BC03-446C-AE81-9AFA8703494F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6" creationId="{5818BE34-F222-4384-82CF-9CC20805C5A3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7" creationId="{315DD405-EC2F-4A5D-9668-61062CFA6BD2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8" creationId="{F262FD6B-C528-4B14-AB00-E13089608F48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39" creationId="{51FD6183-2591-4410-8457-CA9064E44D45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0" creationId="{EE1668C3-0AAB-46B7-ABB1-83DA5237B01C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1" creationId="{1AD11CAA-834E-4916-87D5-56EC0A345F50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2" creationId="{250547DE-96C6-4E41-BD4B-E2F51F576432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3" creationId="{18AF6D95-1D2F-4FBC-9E55-D0E8BC3DC710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4" creationId="{05B50A11-2788-4759-9335-D7EBA0A6DF56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5" creationId="{53C4DBA0-3B25-4FD0-AEA4-1AE7A5D9E5FA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6" creationId="{69D44CCC-1A48-42E6-91FB-AEC1CBD4D3CE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7" creationId="{18E601D8-3B0C-4D0D-9B8A-0DEA82B28E3C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8" creationId="{22A4F4CF-025E-41D8-8BDF-4B33767B9DA9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49" creationId="{96DE3ED4-1FBA-499A-9C1B-F8A6378D9362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0" creationId="{59EBFC45-3165-4F40-AC80-220A089221DF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1" creationId="{53424AEE-547A-47C8-92BB-C9D61757F1E9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2" creationId="{6E7136F3-28B6-4240-98B2-4465D8EEF364}"/>
          </ac:spMkLst>
        </pc:spChg>
        <pc:spChg chg="add mod">
          <ac:chgData name="Nguyen Huy Phuc" userId="39983119-1711-4590-83db-de8f3c63f687" providerId="ADAL" clId="{A580AF81-DDD7-431D-8218-29D8B99B23C4}" dt="2021-02-27T10:11:05.065" v="226" actId="1035"/>
          <ac:spMkLst>
            <pc:docMk/>
            <pc:sldMk cId="685570189" sldId="422"/>
            <ac:spMk id="153" creationId="{2D0880A8-3DD3-4215-B7F4-EA467E5EE15F}"/>
          </ac:spMkLst>
        </pc:spChg>
        <pc:spChg chg="add mod">
          <ac:chgData name="Nguyen Huy Phuc" userId="39983119-1711-4590-83db-de8f3c63f687" providerId="ADAL" clId="{A580AF81-DDD7-431D-8218-29D8B99B23C4}" dt="2021-02-27T10:11:05.065" v="226" actId="1035"/>
          <ac:spMkLst>
            <pc:docMk/>
            <pc:sldMk cId="685570189" sldId="422"/>
            <ac:spMk id="154" creationId="{E0612A9F-C6F9-44D7-9CDB-00B26624C8FB}"/>
          </ac:spMkLst>
        </pc:spChg>
        <pc:spChg chg="add mod">
          <ac:chgData name="Nguyen Huy Phuc" userId="39983119-1711-4590-83db-de8f3c63f687" providerId="ADAL" clId="{A580AF81-DDD7-431D-8218-29D8B99B23C4}" dt="2021-02-27T10:11:07.560" v="229" actId="1036"/>
          <ac:spMkLst>
            <pc:docMk/>
            <pc:sldMk cId="685570189" sldId="422"/>
            <ac:spMk id="155" creationId="{E68E21E2-DFE7-49EE-9378-A58DA80FD750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6" creationId="{E6D40E3B-155C-4FDB-AA70-2BDEA793FCA9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7" creationId="{E08A8D8F-D552-4013-916F-C0692126654D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8" creationId="{AAD2BF4D-54A5-4C1E-B3AF-818F72491E4C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59" creationId="{93AD8357-5DF0-4D90-AB1A-22E4A31FCF2C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60" creationId="{037571D2-77B3-4533-9247-118335D64CC0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61" creationId="{17F184D8-E556-41AB-868E-3B7335943803}"/>
          </ac:spMkLst>
        </pc:spChg>
        <pc:spChg chg="mod">
          <ac:chgData name="Nguyen Huy Phuc" userId="39983119-1711-4590-83db-de8f3c63f687" providerId="ADAL" clId="{A580AF81-DDD7-431D-8218-29D8B99B23C4}" dt="2021-03-01T12:09:18.427" v="683"/>
          <ac:spMkLst>
            <pc:docMk/>
            <pc:sldMk cId="685570189" sldId="422"/>
            <ac:spMk id="162" creationId="{6D3E0F98-5630-41FB-808B-9D4DDB6E2A0D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78" creationId="{2162F926-DC1A-43D8-ACB4-0F579039E921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79" creationId="{9D534F3F-9DE8-4BB7-9938-BE03C47C243E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80" creationId="{8A65C8E6-7929-4A68-ABB6-CFC7A14999FE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81" creationId="{2A5937AC-E58C-4300-BC0F-127B44D1D6BD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82" creationId="{0F26DA72-BDA3-40BD-BCF1-FAD34C0F9AF0}"/>
          </ac:spMkLst>
        </pc:spChg>
        <pc:spChg chg="del mod">
          <ac:chgData name="Nguyen Huy Phuc" userId="39983119-1711-4590-83db-de8f3c63f687" providerId="ADAL" clId="{A580AF81-DDD7-431D-8218-29D8B99B23C4}" dt="2021-03-01T11:56:26.415" v="576" actId="478"/>
          <ac:spMkLst>
            <pc:docMk/>
            <pc:sldMk cId="685570189" sldId="422"/>
            <ac:spMk id="283" creationId="{60321D21-0729-44D7-9667-ACBC461115FA}"/>
          </ac:spMkLst>
        </pc:spChg>
        <pc:spChg chg="del mod">
          <ac:chgData name="Nguyen Huy Phuc" userId="39983119-1711-4590-83db-de8f3c63f687" providerId="ADAL" clId="{A580AF81-DDD7-431D-8218-29D8B99B23C4}" dt="2021-03-01T11:56:19.862" v="573" actId="478"/>
          <ac:spMkLst>
            <pc:docMk/>
            <pc:sldMk cId="685570189" sldId="422"/>
            <ac:spMk id="284" creationId="{FD67BF26-DF9A-46B8-BE13-5C1087A6DB5F}"/>
          </ac:spMkLst>
        </pc:spChg>
        <pc:spChg chg="del">
          <ac:chgData name="Nguyen Huy Phuc" userId="39983119-1711-4590-83db-de8f3c63f687" providerId="ADAL" clId="{A580AF81-DDD7-431D-8218-29D8B99B23C4}" dt="2021-03-01T11:56:18.567" v="572" actId="478"/>
          <ac:spMkLst>
            <pc:docMk/>
            <pc:sldMk cId="685570189" sldId="422"/>
            <ac:spMk id="285" creationId="{26795313-3581-4421-AD47-FB711F6F05A0}"/>
          </ac:spMkLst>
        </pc:spChg>
        <pc:spChg chg="del mod">
          <ac:chgData name="Nguyen Huy Phuc" userId="39983119-1711-4590-83db-de8f3c63f687" providerId="ADAL" clId="{A580AF81-DDD7-431D-8218-29D8B99B23C4}" dt="2021-03-01T11:56:25.454" v="575" actId="478"/>
          <ac:spMkLst>
            <pc:docMk/>
            <pc:sldMk cId="685570189" sldId="422"/>
            <ac:spMk id="286" creationId="{0E0E0EE9-0621-4139-94A4-B9FB5020BA6E}"/>
          </ac:spMkLst>
        </pc:spChg>
        <pc:spChg chg="del mod">
          <ac:chgData name="Nguyen Huy Phuc" userId="39983119-1711-4590-83db-de8f3c63f687" providerId="ADAL" clId="{A580AF81-DDD7-431D-8218-29D8B99B23C4}" dt="2021-03-01T11:56:24.430" v="574" actId="478"/>
          <ac:spMkLst>
            <pc:docMk/>
            <pc:sldMk cId="685570189" sldId="422"/>
            <ac:spMk id="287" creationId="{97F87848-CBAF-4AF6-A8D4-80A972EBEFFC}"/>
          </ac:spMkLst>
        </pc:spChg>
        <pc:spChg chg="del mod">
          <ac:chgData name="Nguyen Huy Phuc" userId="39983119-1711-4590-83db-de8f3c63f687" providerId="ADAL" clId="{A580AF81-DDD7-431D-8218-29D8B99B23C4}" dt="2021-03-01T11:56:28.111" v="577" actId="478"/>
          <ac:spMkLst>
            <pc:docMk/>
            <pc:sldMk cId="685570189" sldId="422"/>
            <ac:spMk id="288" creationId="{E21AFA0A-FE5D-4EBC-B392-8982EB3FD3D2}"/>
          </ac:spMkLst>
        </pc:spChg>
        <pc:spChg chg="del mod">
          <ac:chgData name="Nguyen Huy Phuc" userId="39983119-1711-4590-83db-de8f3c63f687" providerId="ADAL" clId="{A580AF81-DDD7-431D-8218-29D8B99B23C4}" dt="2021-03-01T11:56:29.336" v="578" actId="478"/>
          <ac:spMkLst>
            <pc:docMk/>
            <pc:sldMk cId="685570189" sldId="422"/>
            <ac:spMk id="289" creationId="{E7C699CF-51EA-4EB4-9F1A-DE4D58BC7FFC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90" creationId="{4841E406-D54A-419F-B390-D5E53B1AC137}"/>
          </ac:spMkLst>
        </pc:spChg>
        <pc:spChg chg="mod">
          <ac:chgData name="Nguyen Huy Phuc" userId="39983119-1711-4590-83db-de8f3c63f687" providerId="ADAL" clId="{A580AF81-DDD7-431D-8218-29D8B99B23C4}" dt="2021-03-01T11:59:29.069" v="666" actId="478"/>
          <ac:spMkLst>
            <pc:docMk/>
            <pc:sldMk cId="685570189" sldId="422"/>
            <ac:spMk id="291" creationId="{311C3651-C39C-4939-BFCC-5D9817E019A1}"/>
          </ac:spMkLst>
        </pc:spChg>
        <pc:spChg chg="mod">
          <ac:chgData name="Nguyen Huy Phuc" userId="39983119-1711-4590-83db-de8f3c63f687" providerId="ADAL" clId="{A580AF81-DDD7-431D-8218-29D8B99B23C4}" dt="2021-03-01T11:47:10.935" v="554" actId="20577"/>
          <ac:spMkLst>
            <pc:docMk/>
            <pc:sldMk cId="685570189" sldId="422"/>
            <ac:spMk id="292" creationId="{594C0A41-4855-41E8-8A8F-15677C4F952F}"/>
          </ac:spMkLst>
        </pc:spChg>
        <pc:spChg chg="mod">
          <ac:chgData name="Nguyen Huy Phuc" userId="39983119-1711-4590-83db-de8f3c63f687" providerId="ADAL" clId="{A580AF81-DDD7-431D-8218-29D8B99B23C4}" dt="2021-02-28T10:18:13.050" v="334" actId="20577"/>
          <ac:spMkLst>
            <pc:docMk/>
            <pc:sldMk cId="685570189" sldId="422"/>
            <ac:spMk id="293" creationId="{21EFD21E-47A2-419D-8F42-FFEDC86363A9}"/>
          </ac:spMkLst>
        </pc:spChg>
        <pc:grpChg chg="add del mod">
          <ac:chgData name="Nguyen Huy Phuc" userId="39983119-1711-4590-83db-de8f3c63f687" providerId="ADAL" clId="{A580AF81-DDD7-431D-8218-29D8B99B23C4}" dt="2021-02-28T10:22:03.050" v="477" actId="21"/>
          <ac:grpSpMkLst>
            <pc:docMk/>
            <pc:sldMk cId="685570189" sldId="422"/>
            <ac:grpSpMk id="8" creationId="{B29793E7-C2E1-465B-A7C3-F53C45AC63B8}"/>
          </ac:grpSpMkLst>
        </pc:grpChg>
        <pc:grpChg chg="add mod">
          <ac:chgData name="Nguyen Huy Phuc" userId="39983119-1711-4590-83db-de8f3c63f687" providerId="ADAL" clId="{A580AF81-DDD7-431D-8218-29D8B99B23C4}" dt="2021-03-01T12:09:44.357" v="690" actId="1076"/>
          <ac:grpSpMkLst>
            <pc:docMk/>
            <pc:sldMk cId="685570189" sldId="422"/>
            <ac:grpSpMk id="100" creationId="{AB15D826-A2EB-4447-BF10-72C329E0C564}"/>
          </ac:grpSpMkLst>
        </pc:grpChg>
        <pc:grpChg chg="add mod">
          <ac:chgData name="Nguyen Huy Phuc" userId="39983119-1711-4590-83db-de8f3c63f687" providerId="ADAL" clId="{A580AF81-DDD7-431D-8218-29D8B99B23C4}" dt="2021-03-01T11:46:47.657" v="511" actId="1076"/>
          <ac:grpSpMkLst>
            <pc:docMk/>
            <pc:sldMk cId="685570189" sldId="422"/>
            <ac:grpSpMk id="101" creationId="{1014FCFE-2D4F-4DD3-A86F-FA1708592C6F}"/>
          </ac:grpSpMkLst>
        </pc:grpChg>
        <pc:grpChg chg="del">
          <ac:chgData name="Nguyen Huy Phuc" userId="39983119-1711-4590-83db-de8f3c63f687" providerId="ADAL" clId="{A580AF81-DDD7-431D-8218-29D8B99B23C4}" dt="2021-02-27T10:02:11.733" v="16" actId="165"/>
          <ac:grpSpMkLst>
            <pc:docMk/>
            <pc:sldMk cId="685570189" sldId="422"/>
            <ac:grpSpMk id="140" creationId="{704827B1-F9EE-4F5A-B884-24D35F7054A5}"/>
          </ac:grpSpMkLst>
        </pc:grpChg>
        <pc:grpChg chg="del">
          <ac:chgData name="Nguyen Huy Phuc" userId="39983119-1711-4590-83db-de8f3c63f687" providerId="ADAL" clId="{A580AF81-DDD7-431D-8218-29D8B99B23C4}" dt="2021-02-27T10:02:11.733" v="16" actId="165"/>
          <ac:grpSpMkLst>
            <pc:docMk/>
            <pc:sldMk cId="685570189" sldId="422"/>
            <ac:grpSpMk id="151" creationId="{AB395B15-2628-4BBD-9D50-BA9A5117CF3C}"/>
          </ac:grpSpMkLst>
        </pc:grpChg>
        <pc:grpChg chg="del">
          <ac:chgData name="Nguyen Huy Phuc" userId="39983119-1711-4590-83db-de8f3c63f687" providerId="ADAL" clId="{A580AF81-DDD7-431D-8218-29D8B99B23C4}" dt="2021-02-27T10:02:11.733" v="16" actId="165"/>
          <ac:grpSpMkLst>
            <pc:docMk/>
            <pc:sldMk cId="685570189" sldId="422"/>
            <ac:grpSpMk id="214" creationId="{B7615D6D-2EB4-4CCE-96C0-34CE44245EE2}"/>
          </ac:grpSpMkLst>
        </pc:grpChg>
        <pc:grpChg chg="del">
          <ac:chgData name="Nguyen Huy Phuc" userId="39983119-1711-4590-83db-de8f3c63f687" providerId="ADAL" clId="{A580AF81-DDD7-431D-8218-29D8B99B23C4}" dt="2021-02-27T10:02:11.733" v="16" actId="165"/>
          <ac:grpSpMkLst>
            <pc:docMk/>
            <pc:sldMk cId="685570189" sldId="422"/>
            <ac:grpSpMk id="225" creationId="{15228623-BF54-44E2-B32D-BEE4807B4E5C}"/>
          </ac:grpSpMkLst>
        </pc:grpChg>
        <pc:grpChg chg="del mod">
          <ac:chgData name="Nguyen Huy Phuc" userId="39983119-1711-4590-83db-de8f3c63f687" providerId="ADAL" clId="{A580AF81-DDD7-431D-8218-29D8B99B23C4}" dt="2021-03-01T12:09:18.220" v="682" actId="478"/>
          <ac:grpSpMkLst>
            <pc:docMk/>
            <pc:sldMk cId="685570189" sldId="422"/>
            <ac:grpSpMk id="277" creationId="{2FE0C2BD-26B6-4920-A808-5389ADBCB770}"/>
          </ac:grpSpMkLst>
        </pc:grpChg>
        <pc:picChg chg="add mod">
          <ac:chgData name="Nguyen Huy Phuc" userId="39983119-1711-4590-83db-de8f3c63f687" providerId="ADAL" clId="{A580AF81-DDD7-431D-8218-29D8B99B23C4}" dt="2021-02-28T10:22:22.246" v="482" actId="1076"/>
          <ac:picMkLst>
            <pc:docMk/>
            <pc:sldMk cId="685570189" sldId="422"/>
            <ac:picMk id="9" creationId="{1D3FD652-FA8F-40D8-97BA-58F7A0E31C5A}"/>
          </ac:picMkLst>
        </pc:picChg>
        <pc:picChg chg="mod">
          <ac:chgData name="Nguyen Huy Phuc" userId="39983119-1711-4590-83db-de8f3c63f687" providerId="ADAL" clId="{A580AF81-DDD7-431D-8218-29D8B99B23C4}" dt="2021-03-01T12:09:20.652" v="685" actId="1076"/>
          <ac:picMkLst>
            <pc:docMk/>
            <pc:sldMk cId="685570189" sldId="422"/>
            <ac:picMk id="87" creationId="{BC38FF6C-8090-4DD4-AE52-7FA6189FA377}"/>
          </ac:picMkLst>
        </pc:picChg>
        <pc:picChg chg="add mod">
          <ac:chgData name="Nguyen Huy Phuc" userId="39983119-1711-4590-83db-de8f3c63f687" providerId="ADAL" clId="{A580AF81-DDD7-431D-8218-29D8B99B23C4}" dt="2021-02-28T10:21:45.179" v="470" actId="164"/>
          <ac:picMkLst>
            <pc:docMk/>
            <pc:sldMk cId="685570189" sldId="422"/>
            <ac:picMk id="98" creationId="{9E74C5C1-E88E-431C-8EE1-29A0E47FA262}"/>
          </ac:picMkLst>
        </pc:picChg>
        <pc:picChg chg="add del mod">
          <ac:chgData name="Nguyen Huy Phuc" userId="39983119-1711-4590-83db-de8f3c63f687" providerId="ADAL" clId="{A580AF81-DDD7-431D-8218-29D8B99B23C4}" dt="2021-03-01T12:09:18.220" v="682" actId="478"/>
          <ac:picMkLst>
            <pc:docMk/>
            <pc:sldMk cId="685570189" sldId="422"/>
            <ac:picMk id="98" creationId="{D5CFAF28-486E-409F-8616-64880A01BE06}"/>
          </ac:picMkLst>
        </pc:picChg>
        <pc:picChg chg="mod">
          <ac:chgData name="Nguyen Huy Phuc" userId="39983119-1711-4590-83db-de8f3c63f687" providerId="ADAL" clId="{A580AF81-DDD7-431D-8218-29D8B99B23C4}" dt="2021-02-28T10:22:04.295" v="478"/>
          <ac:picMkLst>
            <pc:docMk/>
            <pc:sldMk cId="685570189" sldId="422"/>
            <ac:picMk id="102" creationId="{3F5F8F1E-3666-4745-A5AA-0EF5819731B7}"/>
          </ac:picMkLst>
        </pc:picChg>
        <pc:picChg chg="del">
          <ac:chgData name="Nguyen Huy Phuc" userId="39983119-1711-4590-83db-de8f3c63f687" providerId="ADAL" clId="{A580AF81-DDD7-431D-8218-29D8B99B23C4}" dt="2021-02-27T10:01:26.749" v="4" actId="478"/>
          <ac:picMkLst>
            <pc:docMk/>
            <pc:sldMk cId="685570189" sldId="422"/>
            <ac:picMk id="123" creationId="{D86A8192-AB43-4849-9EB0-63D94BD7013D}"/>
          </ac:picMkLst>
        </pc:picChg>
        <pc:picChg chg="add del">
          <ac:chgData name="Nguyen Huy Phuc" userId="39983119-1711-4590-83db-de8f3c63f687" providerId="ADAL" clId="{A580AF81-DDD7-431D-8218-29D8B99B23C4}" dt="2021-02-27T10:01:39.641" v="7" actId="478"/>
          <ac:picMkLst>
            <pc:docMk/>
            <pc:sldMk cId="685570189" sldId="422"/>
            <ac:picMk id="128" creationId="{09939005-0FE1-4608-8817-715F4617E1AD}"/>
          </ac:picMkLst>
        </pc:picChg>
        <pc:picChg chg="del">
          <ac:chgData name="Nguyen Huy Phuc" userId="39983119-1711-4590-83db-de8f3c63f687" providerId="ADAL" clId="{A580AF81-DDD7-431D-8218-29D8B99B23C4}" dt="2021-02-27T10:01:46.872" v="8" actId="478"/>
          <ac:picMkLst>
            <pc:docMk/>
            <pc:sldMk cId="685570189" sldId="422"/>
            <ac:picMk id="132" creationId="{59C0C677-2820-4746-9462-111D88BA267F}"/>
          </ac:picMkLst>
        </pc:picChg>
        <pc:picChg chg="del">
          <ac:chgData name="Nguyen Huy Phuc" userId="39983119-1711-4590-83db-de8f3c63f687" providerId="ADAL" clId="{A580AF81-DDD7-431D-8218-29D8B99B23C4}" dt="2021-02-27T10:01:48.688" v="9" actId="478"/>
          <ac:picMkLst>
            <pc:docMk/>
            <pc:sldMk cId="685570189" sldId="422"/>
            <ac:picMk id="133" creationId="{367DBCDB-B2F7-457B-9E8E-41D22F3F5F5E}"/>
          </ac:picMkLst>
        </pc:picChg>
        <pc:picChg chg="del">
          <ac:chgData name="Nguyen Huy Phuc" userId="39983119-1711-4590-83db-de8f3c63f687" providerId="ADAL" clId="{A580AF81-DDD7-431D-8218-29D8B99B23C4}" dt="2021-02-27T10:01:57.036" v="14" actId="478"/>
          <ac:picMkLst>
            <pc:docMk/>
            <pc:sldMk cId="685570189" sldId="422"/>
            <ac:picMk id="134" creationId="{C8F6A01A-0A27-4BD5-AEA7-C32D6C9F8DBF}"/>
          </ac:picMkLst>
        </pc:picChg>
        <pc:picChg chg="del">
          <ac:chgData name="Nguyen Huy Phuc" userId="39983119-1711-4590-83db-de8f3c63f687" providerId="ADAL" clId="{A580AF81-DDD7-431D-8218-29D8B99B23C4}" dt="2021-02-27T10:01:50.325" v="10" actId="478"/>
          <ac:picMkLst>
            <pc:docMk/>
            <pc:sldMk cId="685570189" sldId="422"/>
            <ac:picMk id="135" creationId="{86A5FFB0-E653-414B-81FB-CB179CA4AAAE}"/>
          </ac:picMkLst>
        </pc:picChg>
        <pc:picChg chg="del">
          <ac:chgData name="Nguyen Huy Phuc" userId="39983119-1711-4590-83db-de8f3c63f687" providerId="ADAL" clId="{A580AF81-DDD7-431D-8218-29D8B99B23C4}" dt="2021-02-27T10:01:51.920" v="11" actId="478"/>
          <ac:picMkLst>
            <pc:docMk/>
            <pc:sldMk cId="685570189" sldId="422"/>
            <ac:picMk id="136" creationId="{3B1CF393-691D-4C13-856B-C10CC41B3D87}"/>
          </ac:picMkLst>
        </pc:picChg>
        <pc:picChg chg="del">
          <ac:chgData name="Nguyen Huy Phuc" userId="39983119-1711-4590-83db-de8f3c63f687" providerId="ADAL" clId="{A580AF81-DDD7-431D-8218-29D8B99B23C4}" dt="2021-02-27T10:01:53.975" v="12" actId="478"/>
          <ac:picMkLst>
            <pc:docMk/>
            <pc:sldMk cId="685570189" sldId="422"/>
            <ac:picMk id="137" creationId="{9D14FA02-FA79-4C4A-92B5-5FDD8EAC15E4}"/>
          </ac:picMkLst>
        </pc:picChg>
        <pc:picChg chg="del">
          <ac:chgData name="Nguyen Huy Phuc" userId="39983119-1711-4590-83db-de8f3c63f687" providerId="ADAL" clId="{A580AF81-DDD7-431D-8218-29D8B99B23C4}" dt="2021-02-27T10:01:55.478" v="13" actId="478"/>
          <ac:picMkLst>
            <pc:docMk/>
            <pc:sldMk cId="685570189" sldId="422"/>
            <ac:picMk id="138" creationId="{7AE016AC-9AEA-440D-BC76-86F9CDFF6E51}"/>
          </ac:picMkLst>
        </pc:picChg>
        <pc:picChg chg="del">
          <ac:chgData name="Nguyen Huy Phuc" userId="39983119-1711-4590-83db-de8f3c63f687" providerId="ADAL" clId="{A580AF81-DDD7-431D-8218-29D8B99B23C4}" dt="2021-02-27T10:01:58.552" v="15" actId="478"/>
          <ac:picMkLst>
            <pc:docMk/>
            <pc:sldMk cId="685570189" sldId="422"/>
            <ac:picMk id="139" creationId="{57C705CF-B0AF-47A2-B754-B57FB876A7D5}"/>
          </ac:picMkLst>
        </pc:picChg>
        <pc:picChg chg="del mod topLvl">
          <ac:chgData name="Nguyen Huy Phuc" userId="39983119-1711-4590-83db-de8f3c63f687" providerId="ADAL" clId="{A580AF81-DDD7-431D-8218-29D8B99B23C4}" dt="2021-02-27T10:10:31.975" v="214" actId="478"/>
          <ac:picMkLst>
            <pc:docMk/>
            <pc:sldMk cId="685570189" sldId="422"/>
            <ac:picMk id="141" creationId="{02233713-2946-443D-B5D9-246E6F118236}"/>
          </ac:picMkLst>
        </pc:picChg>
        <pc:picChg chg="del mod topLvl">
          <ac:chgData name="Nguyen Huy Phuc" userId="39983119-1711-4590-83db-de8f3c63f687" providerId="ADAL" clId="{A580AF81-DDD7-431D-8218-29D8B99B23C4}" dt="2021-02-27T10:02:18.233" v="20" actId="478"/>
          <ac:picMkLst>
            <pc:docMk/>
            <pc:sldMk cId="685570189" sldId="422"/>
            <ac:picMk id="142" creationId="{4609D2C3-AD0A-414D-AD26-B0D959D67CC3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3" creationId="{A48DD4E7-AD5B-41E0-A629-CF496D51EA0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4" creationId="{7384C96D-ECD3-4F8D-B61C-7C3798E3BBC1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5" creationId="{409FC153-5D90-400E-85F3-1BCFB890F8DD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6" creationId="{6BDB1C1F-42C5-4E76-90C5-38B34EB8B070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7" creationId="{4CA56774-E867-4E6F-96B3-C347CCB6D0DB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8" creationId="{B1B1FE2A-1811-4F31-A992-BFFE5636EB79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49" creationId="{97C2D043-D3DF-4A54-AD70-5D2435DEC83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150" creationId="{D349BEE3-439D-4C59-A5A2-D0951F1BB0C7}"/>
          </ac:picMkLst>
        </pc:picChg>
        <pc:picChg chg="del mod topLvl">
          <ac:chgData name="Nguyen Huy Phuc" userId="39983119-1711-4590-83db-de8f3c63f687" providerId="ADAL" clId="{A580AF81-DDD7-431D-8218-29D8B99B23C4}" dt="2021-02-27T10:10:32.416" v="215" actId="478"/>
          <ac:picMkLst>
            <pc:docMk/>
            <pc:sldMk cId="685570189" sldId="422"/>
            <ac:picMk id="152" creationId="{2A20D6EC-89B3-43FE-AE93-CC150827B4D1}"/>
          </ac:picMkLst>
        </pc:picChg>
        <pc:picChg chg="del mod topLvl">
          <ac:chgData name="Nguyen Huy Phuc" userId="39983119-1711-4590-83db-de8f3c63f687" providerId="ADAL" clId="{A580AF81-DDD7-431D-8218-29D8B99B23C4}" dt="2021-02-27T10:02:18.182" v="19" actId="478"/>
          <ac:picMkLst>
            <pc:docMk/>
            <pc:sldMk cId="685570189" sldId="422"/>
            <ac:picMk id="205" creationId="{032147C7-7EC2-4C77-AE6F-4CEFBBD2C27E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06" creationId="{D54B8632-9C8B-475B-A0AD-DE539E9606D3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07" creationId="{F4D82FF1-3DAA-464D-9180-4102011E9744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08" creationId="{9E9FD044-1761-41F9-A03A-1A2BB146168D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09" creationId="{72D14620-BC96-4F34-A2FC-C55E39FB70A2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0" creationId="{311A1690-C3B9-4367-B32C-677957BFE991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1" creationId="{994AF74E-F379-4512-A83B-7ECAD613B3E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2" creationId="{7018D059-E905-44C3-A131-6DDA1C71CBB4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3" creationId="{A7D0EDD1-8EAD-4134-AD0E-DB034EC613E5}"/>
          </ac:picMkLst>
        </pc:picChg>
        <pc:picChg chg="del mod topLvl">
          <ac:chgData name="Nguyen Huy Phuc" userId="39983119-1711-4590-83db-de8f3c63f687" providerId="ADAL" clId="{A580AF81-DDD7-431D-8218-29D8B99B23C4}" dt="2021-02-27T10:10:46.604" v="218" actId="478"/>
          <ac:picMkLst>
            <pc:docMk/>
            <pc:sldMk cId="685570189" sldId="422"/>
            <ac:picMk id="215" creationId="{BB69ED83-260D-445E-8C60-B8DC2F555EFE}"/>
          </ac:picMkLst>
        </pc:picChg>
        <pc:picChg chg="del mod topLvl">
          <ac:chgData name="Nguyen Huy Phuc" userId="39983119-1711-4590-83db-de8f3c63f687" providerId="ADAL" clId="{A580AF81-DDD7-431D-8218-29D8B99B23C4}" dt="2021-02-27T10:02:17.326" v="18" actId="478"/>
          <ac:picMkLst>
            <pc:docMk/>
            <pc:sldMk cId="685570189" sldId="422"/>
            <ac:picMk id="216" creationId="{70915420-7951-496A-8294-CE50FA5CB380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7" creationId="{C2A9752E-4A0F-40F4-AB91-3444BE469C7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8" creationId="{5DEDED21-7399-4CDC-9737-90E5E15AEAA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19" creationId="{89FA9AC4-1033-47AE-930E-221EB9BA6568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0" creationId="{1AB67DF6-D180-4B88-98ED-5F07A0240C83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1" creationId="{DCB39D67-28B0-4B5A-B239-D8F6F2B51FAC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2" creationId="{BF8D7F90-1A40-47D8-A42B-6867C1685B27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3" creationId="{24B15E6C-70FA-4B6A-BB14-EA0425B0FDD2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4" creationId="{E591B0BB-3733-4A8E-AD86-39924C551A77}"/>
          </ac:picMkLst>
        </pc:picChg>
        <pc:picChg chg="del mod topLvl">
          <ac:chgData name="Nguyen Huy Phuc" userId="39983119-1711-4590-83db-de8f3c63f687" providerId="ADAL" clId="{A580AF81-DDD7-431D-8218-29D8B99B23C4}" dt="2021-02-27T10:08:49.204" v="24" actId="27803"/>
          <ac:picMkLst>
            <pc:docMk/>
            <pc:sldMk cId="685570189" sldId="422"/>
            <ac:picMk id="226" creationId="{E640A599-7AD2-43F6-B373-1E767EA8B327}"/>
          </ac:picMkLst>
        </pc:picChg>
        <pc:picChg chg="del mod topLvl">
          <ac:chgData name="Nguyen Huy Phuc" userId="39983119-1711-4590-83db-de8f3c63f687" providerId="ADAL" clId="{A580AF81-DDD7-431D-8218-29D8B99B23C4}" dt="2021-02-27T10:02:18.827" v="21" actId="478"/>
          <ac:picMkLst>
            <pc:docMk/>
            <pc:sldMk cId="685570189" sldId="422"/>
            <ac:picMk id="227" creationId="{D9AB44C2-9C5B-4B94-943C-ACE6456D7919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8" creationId="{FB7E4A3E-C43A-46E6-B313-34C06C9CC018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29" creationId="{4688D13D-5812-49BD-BF46-F0CD2B982BB0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0" creationId="{16A8F51E-142C-485D-88E5-1F57F246FFFB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1" creationId="{A628995B-9F6F-437B-BE4E-D370628DCAC4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2" creationId="{14A73C4E-8DE7-4D94-A38D-1EFC5CFE2B7A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3" creationId="{0D61E789-A95E-4892-A79C-F931FD89BCDD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4" creationId="{F61A30F8-5351-44B8-8269-75BC29F81F6E}"/>
          </ac:picMkLst>
        </pc:picChg>
        <pc:picChg chg="del mod topLvl">
          <ac:chgData name="Nguyen Huy Phuc" userId="39983119-1711-4590-83db-de8f3c63f687" providerId="ADAL" clId="{A580AF81-DDD7-431D-8218-29D8B99B23C4}" dt="2021-02-27T10:02:16.793" v="17" actId="478"/>
          <ac:picMkLst>
            <pc:docMk/>
            <pc:sldMk cId="685570189" sldId="422"/>
            <ac:picMk id="235" creationId="{D2CEFD2B-CB55-4FC1-A746-40C4DF184562}"/>
          </ac:picMkLst>
        </pc:picChg>
      </pc:sldChg>
      <pc:sldChg chg="delSp modSp add del mod">
        <pc:chgData name="Nguyen Huy Phuc" userId="39983119-1711-4590-83db-de8f3c63f687" providerId="ADAL" clId="{A580AF81-DDD7-431D-8218-29D8B99B23C4}" dt="2021-03-01T12:47:15.175" v="705" actId="47"/>
        <pc:sldMkLst>
          <pc:docMk/>
          <pc:sldMk cId="1018107380" sldId="423"/>
        </pc:sldMkLst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11" creationId="{8021DDE9-361B-4C9C-B486-7E72D628DAC9}"/>
          </ac:spMkLst>
        </pc:spChg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12" creationId="{68E0EBCC-D9EB-4F83-9699-FB88AB516F7E}"/>
          </ac:spMkLst>
        </pc:spChg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13" creationId="{9A0A375C-A0C1-49B7-8E3C-BB3F71CFC925}"/>
          </ac:spMkLst>
        </pc:spChg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17" creationId="{223E2A4A-A215-4DF4-9F51-08D4A077A5E8}"/>
          </ac:spMkLst>
        </pc:spChg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20" creationId="{5484F919-2C91-4AF7-984C-00988FE67E13}"/>
          </ac:spMkLst>
        </pc:spChg>
        <pc:spChg chg="del">
          <ac:chgData name="Nguyen Huy Phuc" userId="39983119-1711-4590-83db-de8f3c63f687" providerId="ADAL" clId="{A580AF81-DDD7-431D-8218-29D8B99B23C4}" dt="2021-03-01T12:43:18.233" v="703" actId="478"/>
          <ac:spMkLst>
            <pc:docMk/>
            <pc:sldMk cId="1018107380" sldId="423"/>
            <ac:spMk id="21" creationId="{93EAC43A-2829-40B3-BBCB-559CAEC20AC6}"/>
          </ac:spMkLst>
        </pc:spChg>
        <pc:grpChg chg="del">
          <ac:chgData name="Nguyen Huy Phuc" userId="39983119-1711-4590-83db-de8f3c63f687" providerId="ADAL" clId="{A580AF81-DDD7-431D-8218-29D8B99B23C4}" dt="2021-03-01T12:43:18.233" v="703" actId="478"/>
          <ac:grpSpMkLst>
            <pc:docMk/>
            <pc:sldMk cId="1018107380" sldId="423"/>
            <ac:grpSpMk id="6" creationId="{EF5D0A0F-769E-41FF-89EB-3FAC553C8DC3}"/>
          </ac:grpSpMkLst>
        </pc:grpChg>
        <pc:picChg chg="mod">
          <ac:chgData name="Nguyen Huy Phuc" userId="39983119-1711-4590-83db-de8f3c63f687" providerId="ADAL" clId="{A580AF81-DDD7-431D-8218-29D8B99B23C4}" dt="2021-03-01T12:22:08.910" v="702" actId="14100"/>
          <ac:picMkLst>
            <pc:docMk/>
            <pc:sldMk cId="1018107380" sldId="423"/>
            <ac:picMk id="5" creationId="{3122F3E5-9030-4E79-A655-6FE420A1063D}"/>
          </ac:picMkLst>
        </pc:picChg>
      </pc:sldChg>
      <pc:sldChg chg="addSp delSp modSp add del mod">
        <pc:chgData name="Nguyen Huy Phuc" userId="39983119-1711-4590-83db-de8f3c63f687" providerId="ADAL" clId="{A580AF81-DDD7-431D-8218-29D8B99B23C4}" dt="2021-03-01T13:22:50.050" v="1247" actId="47"/>
        <pc:sldMkLst>
          <pc:docMk/>
          <pc:sldMk cId="2496239095" sldId="1498"/>
        </pc:sldMkLst>
        <pc:spChg chg="del">
          <ac:chgData name="Nguyen Huy Phuc" userId="39983119-1711-4590-83db-de8f3c63f687" providerId="ADAL" clId="{A580AF81-DDD7-431D-8218-29D8B99B23C4}" dt="2021-03-01T12:47:37.096" v="708" actId="478"/>
          <ac:spMkLst>
            <pc:docMk/>
            <pc:sldMk cId="2496239095" sldId="1498"/>
            <ac:spMk id="26" creationId="{B5FD302B-B81C-4047-AB86-0B4CFEE2E23D}"/>
          </ac:spMkLst>
        </pc:spChg>
        <pc:spChg chg="add mod">
          <ac:chgData name="Nguyen Huy Phuc" userId="39983119-1711-4590-83db-de8f3c63f687" providerId="ADAL" clId="{A580AF81-DDD7-431D-8218-29D8B99B23C4}" dt="2021-03-01T12:47:58.751" v="739" actId="207"/>
          <ac:spMkLst>
            <pc:docMk/>
            <pc:sldMk cId="2496239095" sldId="1498"/>
            <ac:spMk id="125" creationId="{83066A04-5684-40C1-8987-CED9D1FA0395}"/>
          </ac:spMkLst>
        </pc:spChg>
        <pc:grpChg chg="del">
          <ac:chgData name="Nguyen Huy Phuc" userId="39983119-1711-4590-83db-de8f3c63f687" providerId="ADAL" clId="{A580AF81-DDD7-431D-8218-29D8B99B23C4}" dt="2021-03-01T12:47:48.680" v="738" actId="478"/>
          <ac:grpSpMkLst>
            <pc:docMk/>
            <pc:sldMk cId="2496239095" sldId="1498"/>
            <ac:grpSpMk id="118" creationId="{8AC93D88-70B8-48B6-967F-D67B36EF1BD9}"/>
          </ac:grpSpMkLst>
        </pc:grpChg>
      </pc:sldChg>
      <pc:sldChg chg="addSp delSp modSp add mod ord modAnim">
        <pc:chgData name="Nguyen Huy Phuc" userId="39983119-1711-4590-83db-de8f3c63f687" providerId="ADAL" clId="{A580AF81-DDD7-431D-8218-29D8B99B23C4}" dt="2021-03-01T14:00:01.805" v="1505" actId="113"/>
        <pc:sldMkLst>
          <pc:docMk/>
          <pc:sldMk cId="3284769985" sldId="1499"/>
        </pc:sldMkLst>
        <pc:spChg chg="mod">
          <ac:chgData name="Nguyen Huy Phuc" userId="39983119-1711-4590-83db-de8f3c63f687" providerId="ADAL" clId="{A580AF81-DDD7-431D-8218-29D8B99B23C4}" dt="2021-03-01T13:22:05.678" v="1239" actId="1076"/>
          <ac:spMkLst>
            <pc:docMk/>
            <pc:sldMk cId="3284769985" sldId="1499"/>
            <ac:spMk id="4" creationId="{E9FB7E58-18AE-4179-B44B-D28FB3CF7311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5" creationId="{E640A599-7AD2-43F6-B373-1E767EA8B327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7" creationId="{1CC8365B-B0D0-4316-90D9-71BB8A4A0556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1" creationId="{09C4DE7B-713B-4129-8B48-98D1B2852726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2" creationId="{23D342A1-E4DA-4A70-A0FD-41320F642DC0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3" creationId="{241F2CC6-6FA8-4DCA-8E9F-B6C28CF19795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4" creationId="{E2830121-44FF-456B-B4B2-A6FB08E8487C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88" creationId="{BE770853-3321-4491-82A0-E365715313A9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89" creationId="{E680CE37-B78A-408F-9E13-DAEB4C1B3BB0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0" creationId="{B1C06623-F31D-4D47-AF76-453FB788BC63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1" creationId="{54811107-2571-4A09-BD1B-FB35E620DCC1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2" creationId="{575DC0DF-46FA-4CD6-8FB0-A371DADE6EDB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3" creationId="{6C85BEA4-BB4F-4272-96DE-F314AB202E9B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4" creationId="{DF330415-90EA-4DB9-B468-4C0B7F722696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95" creationId="{0D44B7EB-7BE5-4EEC-BAB7-333548C099A2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53" creationId="{2D0880A8-3DD3-4215-B7F4-EA467E5EE15F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54" creationId="{E0612A9F-C6F9-44D7-9CDB-00B26624C8FB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155" creationId="{E68E21E2-DFE7-49EE-9378-A58DA80FD750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0" creationId="{1EEAFC82-ED22-40A5-B16B-85B6B4A726BF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2" creationId="{449A71A8-F1F9-4D51-A3F6-C1EBC592E90B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3" creationId="{7AAED01B-6E57-4BE5-861A-2C6ECFE4789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4" creationId="{5C05D003-82FD-4EA4-925F-074A09FFFEBA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5" creationId="{25A25117-5C0C-4F16-9DFA-9B201715BFF9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6" creationId="{21A70666-2379-4516-ABAC-7954832FF86F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7" creationId="{9A48A589-0E6C-41E0-B274-A816BBD0B98B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79" creationId="{15C78BB5-81ED-4BFC-A6E0-CE181ECD2BFD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1" creationId="{EF377B50-1599-4409-83CE-46A7F56614F5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2" creationId="{C3C66F9E-7982-4EAD-8329-20BFDB35B39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3" creationId="{6A2DD58C-7CC2-42AE-BA8E-91EFEB1CAC89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4" creationId="{0B2D9588-913D-4035-8922-63B800605A61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5" creationId="{0A1379EF-BF44-4996-B490-45F7AC4EA69A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6" creationId="{34BE6280-749C-412E-90F6-2CF8AA56B554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88" creationId="{5E52D8BA-F204-4BF9-BB8C-A113E1CA06AC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0" creationId="{01BECE5A-4319-41CF-91FD-0F3BDB6ADE1B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1" creationId="{EE4B2980-D133-4957-8DAF-699232587359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2" creationId="{804D85AC-B343-4195-84CD-5C0E1CA3BC37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3" creationId="{E34B83A1-FC3D-4405-9298-F0EA333BE464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4" creationId="{89CF61F2-0392-4E3A-9873-29F5DEC35998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195" creationId="{DBD56C0D-AC4D-4AC5-9367-51296F1F7C6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0" creationId="{964B70DA-BBE1-4711-8335-90A4F477281E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2" creationId="{E862EEA1-EA79-4EEF-94DD-05CCAFB4027E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3" creationId="{51C08D2A-5A68-4CE1-88BF-D2CB837A292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4" creationId="{7D236372-ABA4-45C2-98C0-6863A49F023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5" creationId="{711F830E-7C28-4B7C-95A1-0112CEA925E7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6" creationId="{866BD858-2D0B-4D7C-A5E4-6EC171E18832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7" creationId="{E3B8FB96-2383-477F-858E-274606311148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09" creationId="{913A6FD2-8A1A-4311-8791-97B9EB5998B3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1" creationId="{90522A30-9602-49F7-A855-4908B79EB01A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2" creationId="{ED25CB0A-8D6F-432A-9758-A96DB532F2E8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3" creationId="{743EE860-082E-4BB0-AD96-F4BAA1B89D9C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4" creationId="{DD58B915-378F-4058-B345-A5CC78BC857A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5" creationId="{F22E9234-53A5-4093-967E-A00FBFE95BF5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6" creationId="{BE8DC689-D2D0-463D-B9C4-C1CEDEEA4501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18" creationId="{C86B30D4-8A36-4C09-A68A-78F15CB4A5A2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0" creationId="{0AA16676-AC31-4BDD-8654-22DD3DD8CE39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1" creationId="{0F13F688-7E89-4548-946C-C9BB02AB1C41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2" creationId="{203EC927-C833-4EE2-807F-7AB289763D8F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3" creationId="{B4601DD6-EAF9-4018-A224-E4EF836E045A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4" creationId="{F5C9B372-A4DC-41E3-9AF6-06ECFB32E3C6}"/>
          </ac:spMkLst>
        </pc:spChg>
        <pc:spChg chg="mod">
          <ac:chgData name="Nguyen Huy Phuc" userId="39983119-1711-4590-83db-de8f3c63f687" providerId="ADAL" clId="{A580AF81-DDD7-431D-8218-29D8B99B23C4}" dt="2021-03-01T12:48:14.001" v="744"/>
          <ac:spMkLst>
            <pc:docMk/>
            <pc:sldMk cId="3284769985" sldId="1499"/>
            <ac:spMk id="225" creationId="{50FA9717-9AB4-4DAA-87AC-72548D558081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33" creationId="{C0D2FD2E-7C24-466C-996E-D5CFE798526F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35" creationId="{81551D01-A921-46F6-9E0D-1BEFF449A459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242" creationId="{2E6676BC-3743-43BF-AB93-0610EB52254E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43" creationId="{F9304A7F-A4ED-4FE4-A2E0-F0DB6DFAF04E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44" creationId="{AF7F9857-6706-483B-A54D-F1EE816E6EBA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45" creationId="{2059C7A5-A79A-4183-BAC3-B78C9146E3F7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46" creationId="{BD87351E-D852-4034-9C56-3726BB95CF2B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47" creationId="{79F70803-0A5A-42F5-AD5E-ED5337C61468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249" creationId="{4D2A41B5-B086-4248-A745-1CA39A56E00D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77" creationId="{3FA8A009-D0E2-4D0B-9A9F-E3A35FDF9D4E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79" creationId="{5C22F3EF-A457-48B4-AC85-82EC9E19DEA0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0" creationId="{E4A6A929-190E-450E-91CF-CC36C05C21D7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1" creationId="{3F2CBFE3-6334-401C-B2F4-E88BACDAC373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2" creationId="{3056C15A-BDE4-4F16-8B42-C75E8303FF6A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3" creationId="{9DF1F7A9-E856-49D3-A187-D40C4B691A5F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4" creationId="{1AAD1AE4-7202-4940-BD36-2BE9A3ED05E9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6" creationId="{679FD19C-CFB4-4458-9097-5271CBB7BE9A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8" creationId="{9E762BC2-5226-414D-83E1-5FAD9FBD3C38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89" creationId="{4ECEC235-4425-4F8C-93D5-D69F6DB7F410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90" creationId="{D876D7AD-13BA-4FDF-A40B-723CD6787557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91" creationId="{7B164777-F884-41A0-BD43-0CA2D22E58A7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292" creationId="{594C0A41-4855-41E8-8A8F-15677C4F952F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293" creationId="{21EFD21E-47A2-419D-8F42-FFEDC86363A9}"/>
          </ac:spMkLst>
        </pc:spChg>
        <pc:spChg chg="del">
          <ac:chgData name="Nguyen Huy Phuc" userId="39983119-1711-4590-83db-de8f3c63f687" providerId="ADAL" clId="{A580AF81-DDD7-431D-8218-29D8B99B23C4}" dt="2021-03-01T12:48:13.586" v="743" actId="478"/>
          <ac:spMkLst>
            <pc:docMk/>
            <pc:sldMk cId="3284769985" sldId="1499"/>
            <ac:spMk id="294" creationId="{E7C3F19E-55F7-407A-910B-ACA73D458CCB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95" creationId="{EE20104B-D7EB-425F-AD12-CA1A84465DF8}"/>
          </ac:spMkLst>
        </pc:spChg>
        <pc:spChg chg="mod">
          <ac:chgData name="Nguyen Huy Phuc" userId="39983119-1711-4590-83db-de8f3c63f687" providerId="ADAL" clId="{A580AF81-DDD7-431D-8218-29D8B99B23C4}" dt="2021-03-01T12:48:31.602" v="751" actId="165"/>
          <ac:spMkLst>
            <pc:docMk/>
            <pc:sldMk cId="3284769985" sldId="1499"/>
            <ac:spMk id="296" creationId="{B360FD60-E668-41EA-855F-B50E5B46A044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1" creationId="{F31C2447-CF47-426F-BE28-2C9260D85329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3" creationId="{480F1E4B-C4C9-4606-8528-083937762716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4" creationId="{FBCBBF6F-63DC-4F7E-B6C6-CDD694175596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5" creationId="{AA5CC3A6-5ED8-4D87-B205-406FA3E9680A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6" creationId="{4FAFF9BB-A658-47D3-8A38-04F5D9907A19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7" creationId="{A3A9284F-5DCB-4B19-9172-CC7963421E39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08" creationId="{DBA9C78F-071A-4B21-852F-6AB4AB75AF2F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0" creationId="{918704AB-51B1-4959-835F-2B02955E5EF0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2" creationId="{EF36E200-B46A-4D9A-869D-49B8D0208EF6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3" creationId="{3B6B1E14-1D2A-43CD-BBD0-048B15D8D399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4" creationId="{4A724A3F-1A55-466F-B27B-4D591391269C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5" creationId="{21324341-A4DA-4B3B-807B-9EDAE9561597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6" creationId="{22494731-FD8A-43EF-AD0F-E5E908489CA1}"/>
          </ac:spMkLst>
        </pc:spChg>
        <pc:spChg chg="mod">
          <ac:chgData name="Nguyen Huy Phuc" userId="39983119-1711-4590-83db-de8f3c63f687" providerId="ADAL" clId="{A580AF81-DDD7-431D-8218-29D8B99B23C4}" dt="2021-03-01T12:48:52.817" v="769" actId="165"/>
          <ac:spMkLst>
            <pc:docMk/>
            <pc:sldMk cId="3284769985" sldId="1499"/>
            <ac:spMk id="317" creationId="{DFBC0FA4-2F12-4FA9-A70D-4575F04FA28C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19" creationId="{8A409296-9E69-405C-8A5E-A0B33E6C0145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21" creationId="{12CA2C6E-DD8F-44CC-BABB-16ED273908FF}"/>
          </ac:spMkLst>
        </pc:spChg>
        <pc:spChg chg="del mod">
          <ac:chgData name="Nguyen Huy Phuc" userId="39983119-1711-4590-83db-de8f3c63f687" providerId="ADAL" clId="{A580AF81-DDD7-431D-8218-29D8B99B23C4}" dt="2021-03-01T12:50:10.417" v="796" actId="478"/>
          <ac:spMkLst>
            <pc:docMk/>
            <pc:sldMk cId="3284769985" sldId="1499"/>
            <ac:spMk id="322" creationId="{A4461B32-09E1-4D42-9EA0-B9C56755D694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23" creationId="{FCFACE08-6CE6-468A-B125-EAA37FA1A9D6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24" creationId="{5B660677-4DB5-4D6C-99B7-DB064CD07FB9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25" creationId="{69A13962-02C9-4304-BE22-12A13F22057C}"/>
          </ac:spMkLst>
        </pc:spChg>
        <pc:spChg chg="mod topLvl">
          <ac:chgData name="Nguyen Huy Phuc" userId="39983119-1711-4590-83db-de8f3c63f687" providerId="ADAL" clId="{A580AF81-DDD7-431D-8218-29D8B99B23C4}" dt="2021-03-01T13:32:20.944" v="1448" actId="14100"/>
          <ac:spMkLst>
            <pc:docMk/>
            <pc:sldMk cId="3284769985" sldId="1499"/>
            <ac:spMk id="326" creationId="{414A5EFF-FF7B-486F-AFDF-6066ABDE32EE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27" creationId="{73F02938-0560-4999-ACBB-07ED1B84CFA7}"/>
          </ac:spMkLst>
        </pc:spChg>
        <pc:spChg chg="mod topLvl">
          <ac:chgData name="Nguyen Huy Phuc" userId="39983119-1711-4590-83db-de8f3c63f687" providerId="ADAL" clId="{A580AF81-DDD7-431D-8218-29D8B99B23C4}" dt="2021-03-01T13:29:58.413" v="1376" actId="14100"/>
          <ac:spMkLst>
            <pc:docMk/>
            <pc:sldMk cId="3284769985" sldId="1499"/>
            <ac:spMk id="330" creationId="{992798A0-D99F-43F5-987D-7808CDE91AE9}"/>
          </ac:spMkLst>
        </pc:spChg>
        <pc:spChg chg="mod topLvl">
          <ac:chgData name="Nguyen Huy Phuc" userId="39983119-1711-4590-83db-de8f3c63f687" providerId="ADAL" clId="{A580AF81-DDD7-431D-8218-29D8B99B23C4}" dt="2021-03-01T13:32:12.806" v="1445" actId="14100"/>
          <ac:spMkLst>
            <pc:docMk/>
            <pc:sldMk cId="3284769985" sldId="1499"/>
            <ac:spMk id="332" creationId="{D18A8A14-5410-4C7E-A261-41E97D176625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33" creationId="{415FE87D-A04E-4D31-82AD-94E007BBBDBA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34" creationId="{60BED198-BB5B-4D69-9824-264D32BCCBFE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35" creationId="{85E202A9-1164-4CBE-8B3B-D94054DAC4ED}"/>
          </ac:spMkLst>
        </pc:spChg>
        <pc:spChg chg="mod topLvl">
          <ac:chgData name="Nguyen Huy Phuc" userId="39983119-1711-4590-83db-de8f3c63f687" providerId="ADAL" clId="{A580AF81-DDD7-431D-8218-29D8B99B23C4}" dt="2021-03-01T13:32:16.208" v="1446" actId="14100"/>
          <ac:spMkLst>
            <pc:docMk/>
            <pc:sldMk cId="3284769985" sldId="1499"/>
            <ac:spMk id="336" creationId="{8270AFAD-0235-4F5F-82FE-3D32E96C497A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37" creationId="{C2113C9C-0CAE-4CA2-B7E0-148DB902A4C8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40" creationId="{F98C6382-8C36-4FC8-8091-5BBF72E18236}"/>
          </ac:spMkLst>
        </pc:spChg>
        <pc:spChg chg="mod topLvl">
          <ac:chgData name="Nguyen Huy Phuc" userId="39983119-1711-4590-83db-de8f3c63f687" providerId="ADAL" clId="{A580AF81-DDD7-431D-8218-29D8B99B23C4}" dt="2021-03-01T13:32:09.588" v="1444" actId="14100"/>
          <ac:spMkLst>
            <pc:docMk/>
            <pc:sldMk cId="3284769985" sldId="1499"/>
            <ac:spMk id="342" creationId="{FF65D98C-B9FB-48DB-BFE9-757081D1E424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43" creationId="{5C74FD47-F5B5-432C-8A13-16593E2E60C9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44" creationId="{EF95D049-9507-4E43-942B-8D72E51A3B09}"/>
          </ac:spMkLst>
        </pc:spChg>
        <pc:spChg chg="mod topLvl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45" creationId="{6D426E60-9F92-454C-8548-8809850F670C}"/>
          </ac:spMkLst>
        </pc:spChg>
        <pc:spChg chg="mod topLvl">
          <ac:chgData name="Nguyen Huy Phuc" userId="39983119-1711-4590-83db-de8f3c63f687" providerId="ADAL" clId="{A580AF81-DDD7-431D-8218-29D8B99B23C4}" dt="2021-03-01T13:32:18.068" v="1447" actId="14100"/>
          <ac:spMkLst>
            <pc:docMk/>
            <pc:sldMk cId="3284769985" sldId="1499"/>
            <ac:spMk id="346" creationId="{7379663D-8BF6-421B-85EA-174C122E81B6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47" creationId="{713317D1-2E55-40C3-907B-C0FFA6B9E175}"/>
          </ac:spMkLst>
        </pc:spChg>
        <pc:spChg chg="mod topLvl">
          <ac:chgData name="Nguyen Huy Phuc" userId="39983119-1711-4590-83db-de8f3c63f687" providerId="ADAL" clId="{A580AF81-DDD7-431D-8218-29D8B99B23C4}" dt="2021-03-01T13:20:06.105" v="1204" actId="207"/>
          <ac:spMkLst>
            <pc:docMk/>
            <pc:sldMk cId="3284769985" sldId="1499"/>
            <ac:spMk id="350" creationId="{1F7D0955-0B2C-47EE-9627-775E6E6A4948}"/>
          </ac:spMkLst>
        </pc:spChg>
        <pc:spChg chg="mod topLvl">
          <ac:chgData name="Nguyen Huy Phuc" userId="39983119-1711-4590-83db-de8f3c63f687" providerId="ADAL" clId="{A580AF81-DDD7-431D-8218-29D8B99B23C4}" dt="2021-03-01T13:12:29.115" v="1161" actId="165"/>
          <ac:spMkLst>
            <pc:docMk/>
            <pc:sldMk cId="3284769985" sldId="1499"/>
            <ac:spMk id="352" creationId="{50EB6D0B-C303-4E18-BBF7-FD3667BC5028}"/>
          </ac:spMkLst>
        </pc:spChg>
        <pc:spChg chg="mod topLvl">
          <ac:chgData name="Nguyen Huy Phuc" userId="39983119-1711-4590-83db-de8f3c63f687" providerId="ADAL" clId="{A580AF81-DDD7-431D-8218-29D8B99B23C4}" dt="2021-03-01T13:20:12.696" v="1205" actId="207"/>
          <ac:spMkLst>
            <pc:docMk/>
            <pc:sldMk cId="3284769985" sldId="1499"/>
            <ac:spMk id="353" creationId="{FB28E7EE-7135-4F24-AAC8-0D2F01734021}"/>
          </ac:spMkLst>
        </pc:spChg>
        <pc:spChg chg="mod topLvl">
          <ac:chgData name="Nguyen Huy Phuc" userId="39983119-1711-4590-83db-de8f3c63f687" providerId="ADAL" clId="{A580AF81-DDD7-431D-8218-29D8B99B23C4}" dt="2021-03-01T13:19:51.269" v="1203" actId="165"/>
          <ac:spMkLst>
            <pc:docMk/>
            <pc:sldMk cId="3284769985" sldId="1499"/>
            <ac:spMk id="354" creationId="{2571789F-DCBD-4F05-A4A1-378F86BF22C5}"/>
          </ac:spMkLst>
        </pc:spChg>
        <pc:spChg chg="mod topLvl">
          <ac:chgData name="Nguyen Huy Phuc" userId="39983119-1711-4590-83db-de8f3c63f687" providerId="ADAL" clId="{A580AF81-DDD7-431D-8218-29D8B99B23C4}" dt="2021-03-01T13:20:06.105" v="1204" actId="207"/>
          <ac:spMkLst>
            <pc:docMk/>
            <pc:sldMk cId="3284769985" sldId="1499"/>
            <ac:spMk id="355" creationId="{A29C3FAF-6752-4833-BCFA-2459B1AE77AF}"/>
          </ac:spMkLst>
        </pc:spChg>
        <pc:spChg chg="mod topLvl">
          <ac:chgData name="Nguyen Huy Phuc" userId="39983119-1711-4590-83db-de8f3c63f687" providerId="ADAL" clId="{A580AF81-DDD7-431D-8218-29D8B99B23C4}" dt="2021-03-01T13:32:23.989" v="1449" actId="14100"/>
          <ac:spMkLst>
            <pc:docMk/>
            <pc:sldMk cId="3284769985" sldId="1499"/>
            <ac:spMk id="356" creationId="{95F00F09-E0DC-4B30-BCC3-895515528B21}"/>
          </ac:spMkLst>
        </pc:spChg>
        <pc:spChg chg="add mod">
          <ac:chgData name="Nguyen Huy Phuc" userId="39983119-1711-4590-83db-de8f3c63f687" providerId="ADAL" clId="{A580AF81-DDD7-431D-8218-29D8B99B23C4}" dt="2021-03-01T13:01:31.811" v="1036" actId="1035"/>
          <ac:spMkLst>
            <pc:docMk/>
            <pc:sldMk cId="3284769985" sldId="1499"/>
            <ac:spMk id="357" creationId="{B8EAC322-6A65-432B-9C7B-27985F43E1F4}"/>
          </ac:spMkLst>
        </pc:spChg>
        <pc:spChg chg="mod topLvl">
          <ac:chgData name="Nguyen Huy Phuc" userId="39983119-1711-4590-83db-de8f3c63f687" providerId="ADAL" clId="{A580AF81-DDD7-431D-8218-29D8B99B23C4}" dt="2021-03-01T13:20:54.137" v="1229" actId="207"/>
          <ac:spMkLst>
            <pc:docMk/>
            <pc:sldMk cId="3284769985" sldId="1499"/>
            <ac:spMk id="360" creationId="{25B6861B-1817-4781-8C08-7BFBEB9DF4A1}"/>
          </ac:spMkLst>
        </pc:spChg>
        <pc:spChg chg="mod topLvl">
          <ac:chgData name="Nguyen Huy Phuc" userId="39983119-1711-4590-83db-de8f3c63f687" providerId="ADAL" clId="{A580AF81-DDD7-431D-8218-29D8B99B23C4}" dt="2021-03-01T13:12:29.115" v="1161" actId="165"/>
          <ac:spMkLst>
            <pc:docMk/>
            <pc:sldMk cId="3284769985" sldId="1499"/>
            <ac:spMk id="362" creationId="{64D06998-77B6-40A8-92B7-E50FAE81307A}"/>
          </ac:spMkLst>
        </pc:spChg>
        <pc:spChg chg="mod topLvl">
          <ac:chgData name="Nguyen Huy Phuc" userId="39983119-1711-4590-83db-de8f3c63f687" providerId="ADAL" clId="{A580AF81-DDD7-431D-8218-29D8B99B23C4}" dt="2021-03-01T13:21:07.319" v="1230" actId="207"/>
          <ac:spMkLst>
            <pc:docMk/>
            <pc:sldMk cId="3284769985" sldId="1499"/>
            <ac:spMk id="363" creationId="{B0F4A7DB-8EBB-4B24-9F30-1B97ABAF4EB2}"/>
          </ac:spMkLst>
        </pc:spChg>
        <pc:spChg chg="mod topLvl">
          <ac:chgData name="Nguyen Huy Phuc" userId="39983119-1711-4590-83db-de8f3c63f687" providerId="ADAL" clId="{A580AF81-DDD7-431D-8218-29D8B99B23C4}" dt="2021-03-01T13:20:39.746" v="1228" actId="165"/>
          <ac:spMkLst>
            <pc:docMk/>
            <pc:sldMk cId="3284769985" sldId="1499"/>
            <ac:spMk id="364" creationId="{71EA74DD-1C3F-402F-843F-EAC9F9AE2145}"/>
          </ac:spMkLst>
        </pc:spChg>
        <pc:spChg chg="mod topLvl">
          <ac:chgData name="Nguyen Huy Phuc" userId="39983119-1711-4590-83db-de8f3c63f687" providerId="ADAL" clId="{A580AF81-DDD7-431D-8218-29D8B99B23C4}" dt="2021-03-01T13:20:54.137" v="1229" actId="207"/>
          <ac:spMkLst>
            <pc:docMk/>
            <pc:sldMk cId="3284769985" sldId="1499"/>
            <ac:spMk id="365" creationId="{CC558635-BDA4-4D0F-A3BB-F23AFBA24C16}"/>
          </ac:spMkLst>
        </pc:spChg>
        <pc:spChg chg="mod topLvl">
          <ac:chgData name="Nguyen Huy Phuc" userId="39983119-1711-4590-83db-de8f3c63f687" providerId="ADAL" clId="{A580AF81-DDD7-431D-8218-29D8B99B23C4}" dt="2021-03-01T13:20:54.137" v="1229" actId="207"/>
          <ac:spMkLst>
            <pc:docMk/>
            <pc:sldMk cId="3284769985" sldId="1499"/>
            <ac:spMk id="366" creationId="{024469FB-668D-4DA9-A823-1692C29388D2}"/>
          </ac:spMkLst>
        </pc:spChg>
        <pc:spChg chg="add mod">
          <ac:chgData name="Nguyen Huy Phuc" userId="39983119-1711-4590-83db-de8f3c63f687" providerId="ADAL" clId="{A580AF81-DDD7-431D-8218-29D8B99B23C4}" dt="2021-03-01T13:09:14.328" v="1121" actId="20577"/>
          <ac:spMkLst>
            <pc:docMk/>
            <pc:sldMk cId="3284769985" sldId="1499"/>
            <ac:spMk id="367" creationId="{CBC3D132-1022-4A19-980B-B13FE06AF9FB}"/>
          </ac:spMkLst>
        </pc:spChg>
        <pc:spChg chg="mod topLvl">
          <ac:chgData name="Nguyen Huy Phuc" userId="39983119-1711-4590-83db-de8f3c63f687" providerId="ADAL" clId="{A580AF81-DDD7-431D-8218-29D8B99B23C4}" dt="2021-03-01T13:21:24.268" v="1232" actId="207"/>
          <ac:spMkLst>
            <pc:docMk/>
            <pc:sldMk cId="3284769985" sldId="1499"/>
            <ac:spMk id="370" creationId="{8B38AE49-101C-4191-83CE-4FE6C46D8DB8}"/>
          </ac:spMkLst>
        </pc:spChg>
        <pc:spChg chg="mod topLvl">
          <ac:chgData name="Nguyen Huy Phuc" userId="39983119-1711-4590-83db-de8f3c63f687" providerId="ADAL" clId="{A580AF81-DDD7-431D-8218-29D8B99B23C4}" dt="2021-03-01T13:32:28.182" v="1450" actId="14100"/>
          <ac:spMkLst>
            <pc:docMk/>
            <pc:sldMk cId="3284769985" sldId="1499"/>
            <ac:spMk id="372" creationId="{0B5B1EC5-A5AC-4E5D-98DB-718E1AF616B7}"/>
          </ac:spMkLst>
        </pc:spChg>
        <pc:spChg chg="mod topLvl">
          <ac:chgData name="Nguyen Huy Phuc" userId="39983119-1711-4590-83db-de8f3c63f687" providerId="ADAL" clId="{A580AF81-DDD7-431D-8218-29D8B99B23C4}" dt="2021-03-01T13:21:34.679" v="1233" actId="207"/>
          <ac:spMkLst>
            <pc:docMk/>
            <pc:sldMk cId="3284769985" sldId="1499"/>
            <ac:spMk id="373" creationId="{5787A5CA-24B3-452F-93E4-86B3670ED6E9}"/>
          </ac:spMkLst>
        </pc:spChg>
        <pc:spChg chg="mod topLvl">
          <ac:chgData name="Nguyen Huy Phuc" userId="39983119-1711-4590-83db-de8f3c63f687" providerId="ADAL" clId="{A580AF81-DDD7-431D-8218-29D8B99B23C4}" dt="2021-03-01T13:21:11.940" v="1231" actId="165"/>
          <ac:spMkLst>
            <pc:docMk/>
            <pc:sldMk cId="3284769985" sldId="1499"/>
            <ac:spMk id="374" creationId="{D856A1DF-916C-4E0A-B84B-3A6CC3982B68}"/>
          </ac:spMkLst>
        </pc:spChg>
        <pc:spChg chg="mod topLvl">
          <ac:chgData name="Nguyen Huy Phuc" userId="39983119-1711-4590-83db-de8f3c63f687" providerId="ADAL" clId="{A580AF81-DDD7-431D-8218-29D8B99B23C4}" dt="2021-03-01T13:21:24.268" v="1232" actId="207"/>
          <ac:spMkLst>
            <pc:docMk/>
            <pc:sldMk cId="3284769985" sldId="1499"/>
            <ac:spMk id="375" creationId="{1736C599-5C25-4C2F-925A-201E8A1A2479}"/>
          </ac:spMkLst>
        </pc:spChg>
        <pc:spChg chg="mod topLvl">
          <ac:chgData name="Nguyen Huy Phuc" userId="39983119-1711-4590-83db-de8f3c63f687" providerId="ADAL" clId="{A580AF81-DDD7-431D-8218-29D8B99B23C4}" dt="2021-03-01T13:32:30.167" v="1451" actId="14100"/>
          <ac:spMkLst>
            <pc:docMk/>
            <pc:sldMk cId="3284769985" sldId="1499"/>
            <ac:spMk id="376" creationId="{3BE2C991-AA78-4AFA-AE23-325AC963F2EA}"/>
          </ac:spMkLst>
        </pc:spChg>
        <pc:spChg chg="add mod">
          <ac:chgData name="Nguyen Huy Phuc" userId="39983119-1711-4590-83db-de8f3c63f687" providerId="ADAL" clId="{A580AF81-DDD7-431D-8218-29D8B99B23C4}" dt="2021-03-01T13:01:25.992" v="1029" actId="1036"/>
          <ac:spMkLst>
            <pc:docMk/>
            <pc:sldMk cId="3284769985" sldId="1499"/>
            <ac:spMk id="377" creationId="{FD874D63-09D9-432F-B5E2-0D4F1D0983D4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81" creationId="{69A405BB-CAB0-4DD5-B872-3BE77C345F5D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82" creationId="{52D619FE-37F4-445B-B520-F54316959E75}"/>
          </ac:spMkLst>
        </pc:spChg>
        <pc:spChg chg="add mod">
          <ac:chgData name="Nguyen Huy Phuc" userId="39983119-1711-4590-83db-de8f3c63f687" providerId="ADAL" clId="{A580AF81-DDD7-431D-8218-29D8B99B23C4}" dt="2021-03-01T13:24:48.469" v="1298" actId="1035"/>
          <ac:spMkLst>
            <pc:docMk/>
            <pc:sldMk cId="3284769985" sldId="1499"/>
            <ac:spMk id="383" creationId="{D87D3D80-E1D1-49B5-BF38-21A163229B3C}"/>
          </ac:spMkLst>
        </pc:spChg>
        <pc:spChg chg="add mod">
          <ac:chgData name="Nguyen Huy Phuc" userId="39983119-1711-4590-83db-de8f3c63f687" providerId="ADAL" clId="{A580AF81-DDD7-431D-8218-29D8B99B23C4}" dt="2021-03-01T13:11:40.754" v="1159" actId="1076"/>
          <ac:spMkLst>
            <pc:docMk/>
            <pc:sldMk cId="3284769985" sldId="1499"/>
            <ac:spMk id="384" creationId="{F354326F-F1A6-46E8-B76D-C40244017EF4}"/>
          </ac:spMkLst>
        </pc:spChg>
        <pc:spChg chg="add mod">
          <ac:chgData name="Nguyen Huy Phuc" userId="39983119-1711-4590-83db-de8f3c63f687" providerId="ADAL" clId="{A580AF81-DDD7-431D-8218-29D8B99B23C4}" dt="2021-03-01T13:24:13.153" v="1287" actId="1076"/>
          <ac:spMkLst>
            <pc:docMk/>
            <pc:sldMk cId="3284769985" sldId="1499"/>
            <ac:spMk id="390" creationId="{BD062AC9-AF4D-486A-9FB2-D8AF7A20D9B1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2" creationId="{844689A2-58F7-4DAE-876A-053C5517470A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3" creationId="{0C4AE7F7-10B1-4F56-BECA-96A72B0E9DA2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4" creationId="{55629B22-0EF1-4563-8D33-EEB7A8B4BC7A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5" creationId="{388035F4-ED27-4099-A565-34542382517C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6" creationId="{3C07B2F8-0AA8-4EE9-A366-8156C0CDC904}"/>
          </ac:spMkLst>
        </pc:spChg>
        <pc:spChg chg="mod">
          <ac:chgData name="Nguyen Huy Phuc" userId="39983119-1711-4590-83db-de8f3c63f687" providerId="ADAL" clId="{A580AF81-DDD7-431D-8218-29D8B99B23C4}" dt="2021-03-01T13:25:30.877" v="1302" actId="207"/>
          <ac:spMkLst>
            <pc:docMk/>
            <pc:sldMk cId="3284769985" sldId="1499"/>
            <ac:spMk id="397" creationId="{FABE358F-92F4-4DAB-A3C2-19B024193FE3}"/>
          </ac:spMkLst>
        </pc:spChg>
        <pc:spChg chg="mod">
          <ac:chgData name="Nguyen Huy Phuc" userId="39983119-1711-4590-83db-de8f3c63f687" providerId="ADAL" clId="{A580AF81-DDD7-431D-8218-29D8B99B23C4}" dt="2021-03-01T13:27:35.841" v="1333" actId="207"/>
          <ac:spMkLst>
            <pc:docMk/>
            <pc:sldMk cId="3284769985" sldId="1499"/>
            <ac:spMk id="399" creationId="{769FFB7A-9C6C-4662-842F-741A834F646B}"/>
          </ac:spMkLst>
        </pc:spChg>
        <pc:spChg chg="mod">
          <ac:chgData name="Nguyen Huy Phuc" userId="39983119-1711-4590-83db-de8f3c63f687" providerId="ADAL" clId="{A580AF81-DDD7-431D-8218-29D8B99B23C4}" dt="2021-03-01T13:27:35.841" v="1333" actId="207"/>
          <ac:spMkLst>
            <pc:docMk/>
            <pc:sldMk cId="3284769985" sldId="1499"/>
            <ac:spMk id="400" creationId="{0659234F-7A4D-4252-8A59-298CFE66B17E}"/>
          </ac:spMkLst>
        </pc:spChg>
        <pc:spChg chg="mod">
          <ac:chgData name="Nguyen Huy Phuc" userId="39983119-1711-4590-83db-de8f3c63f687" providerId="ADAL" clId="{A580AF81-DDD7-431D-8218-29D8B99B23C4}" dt="2021-03-01T13:27:35.841" v="1333" actId="207"/>
          <ac:spMkLst>
            <pc:docMk/>
            <pc:sldMk cId="3284769985" sldId="1499"/>
            <ac:spMk id="401" creationId="{A80E6215-7AC3-4E03-B97E-A8E06C26CE4C}"/>
          </ac:spMkLst>
        </pc:spChg>
        <pc:spChg chg="mod">
          <ac:chgData name="Nguyen Huy Phuc" userId="39983119-1711-4590-83db-de8f3c63f687" providerId="ADAL" clId="{A580AF81-DDD7-431D-8218-29D8B99B23C4}" dt="2021-03-01T13:27:35.841" v="1333" actId="207"/>
          <ac:spMkLst>
            <pc:docMk/>
            <pc:sldMk cId="3284769985" sldId="1499"/>
            <ac:spMk id="402" creationId="{2BB9ABE5-F5CD-49EA-B5C7-796899F9B74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4" creationId="{883DB35F-1ADC-4F27-A2C3-4AAB279FA6D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5" creationId="{23FBAC07-7DC6-484F-B896-133C1106FCF1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6" creationId="{BF2124DC-330F-4E98-AAC6-F9A410E3F1B2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7" creationId="{5CDE3C38-6981-4308-8C76-E9E137C0D41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8" creationId="{881F8CB3-5FA1-4FCC-87C5-336552EF6AA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09" creationId="{3B1E262E-3DED-4543-8756-042EB29F3E36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0" creationId="{81EAFD42-47CC-4BA6-979A-EAC6FB97BD9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1" creationId="{6E72AA29-2894-48A8-8A34-F04AD01D767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2" creationId="{4C9AF50F-2575-498F-8E8A-B269F371314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3" creationId="{45613473-EE55-4670-9620-903A0366FA3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4" creationId="{BA711488-9B32-445C-A843-FEBBCFFB915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5" creationId="{E6B9D70B-65CE-4283-951C-A904D681CC1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6" creationId="{B019272A-08D8-445F-87A8-B64C25B96A6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7" creationId="{EE8F0146-3189-4B8A-ABE8-26B9EEC81D2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8" creationId="{AE3D7832-7C5B-4666-A5EC-961F612134D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19" creationId="{4FBEEEDA-3366-4B73-9DC7-F04CCB0302D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0" creationId="{606E2FF3-15A6-4977-A819-96A9DA48BA2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1" creationId="{36047B93-E3E6-4680-A40F-1357AE47DC91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2" creationId="{BC38A17A-71A1-4574-8A9B-45B2E82F55BC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3" creationId="{81BDA5BE-0EE7-4CDD-ACAB-3F72083B45DE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4" creationId="{CE51FBA5-80BF-4DA1-8C6A-44F96BB9F37F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5" creationId="{A0F384CB-3B97-49EF-9DF3-46DE082CBA91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6" creationId="{71D66E7B-6708-4E90-BE26-23E3BBB6F14F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7" creationId="{2892B391-8EC0-43E8-8211-1247DAFD06E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8" creationId="{00106166-D53D-41F8-891B-F4AD0C3AACF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29" creationId="{C4AE3DFB-CE63-4C6C-9803-F57C345CE9C5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0" creationId="{3B7857D5-3DFB-46AA-A37D-48541E480CE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1" creationId="{C4561CB2-B63F-4549-875C-C46E2B9DC6A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2" creationId="{B3D0C0A6-E77A-45C6-AB59-D68C84495B87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3" creationId="{231D3EF0-8A27-490B-AE57-0E42AB2B6292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4" creationId="{BC841689-E48E-4DBF-9AB9-6904E58D4F39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5" creationId="{3CD1A0C7-6C06-421D-A1B6-C571F8669765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6" creationId="{BD4811D1-5524-4FE9-AE71-E1C4FE8425C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7" creationId="{623BF1BD-EA03-4F5D-BE9D-6838C30A1F0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8" creationId="{8D377829-371F-4365-B459-1A3CF5254502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39" creationId="{890F8A4E-DD1B-436E-AC50-074D267BB366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0" creationId="{6E93E864-E81F-4872-9D8B-B1A16594D504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1" creationId="{E0067916-B43E-48C6-9BA2-84A9F62E08C1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2" creationId="{72F10891-EBD2-4958-AA4D-5695B82430B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3" creationId="{35B68F49-55F5-4398-BE6C-0841C4C745E3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4" creationId="{D640820E-D51A-4475-9D3F-07C57C5CA2D9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5" creationId="{F9929E4E-772B-4D2C-89A5-39B3CC28C22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6" creationId="{2B86EB0F-AB38-4075-9DC8-FCF458FF191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7" creationId="{8EFCB408-6950-43BA-8B17-9C8967BF7C94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8" creationId="{0BAA914C-A6CF-44DE-9EC9-82F86CD99C8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49" creationId="{0B2D8A5B-A6D5-424B-85CA-A84226AC087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0" creationId="{6F61F8A8-8C6C-47C6-A336-3115D579BAC2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1" creationId="{3D026670-C5BE-476A-B17F-3D72231260D2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2" creationId="{326AFB8E-033C-40A4-8588-73399B1D16DE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3" creationId="{20B4AA76-439F-4E69-B637-0B4DAC89F89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4" creationId="{F61B2B42-B172-46DF-8229-CD5842009D41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5" creationId="{7552EBDA-E001-453C-985D-DDA81B4A27D5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6" creationId="{D4F79F49-09EC-4245-B20D-F53C85E88AEC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7" creationId="{ABA26837-B1F2-4D1E-B97B-E1BDA451A146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8" creationId="{807A7269-7616-435B-A16F-3FE35C97B168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59" creationId="{A85D30C4-E51F-4F25-B982-32C835430D1B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0" creationId="{2406ABCE-3523-4154-AB41-D93274D48C8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1" creationId="{848C7DCB-DFA9-4039-AF41-42E28796422A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2" creationId="{8F26F651-8F74-41DB-B3D9-2A5A507EEFA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3" creationId="{A8145A7C-3137-4FB0-96CD-D3E1DC8826A4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4" creationId="{4590AA8F-9DDC-472E-9714-BA5EAAE9F09C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5" creationId="{4794D5A3-64C5-48D6-8923-A744B2C28FE4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6" creationId="{C0D8F80F-E97C-423B-9070-56DD02EDDB45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7" creationId="{2D1A9C8A-6F15-4E42-8595-F1D9CD13E8D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8" creationId="{1590BB5B-2F3F-4754-A5AD-4D2E1CFE4F4D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69" creationId="{B3BDBABA-EAD5-4B75-893E-F6A130672304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70" creationId="{AB7D5007-CBE9-4843-8A15-739ADA382CFC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71" creationId="{6B0416FA-ADD0-4BD9-ADD3-9EE765E04D50}"/>
          </ac:spMkLst>
        </pc:spChg>
        <pc:spChg chg="mod">
          <ac:chgData name="Nguyen Huy Phuc" userId="39983119-1711-4590-83db-de8f3c63f687" providerId="ADAL" clId="{A580AF81-DDD7-431D-8218-29D8B99B23C4}" dt="2021-03-01T13:27:10.944" v="1317" actId="207"/>
          <ac:spMkLst>
            <pc:docMk/>
            <pc:sldMk cId="3284769985" sldId="1499"/>
            <ac:spMk id="472" creationId="{2BB807C9-17F1-4598-BFD0-36835CE9CA56}"/>
          </ac:spMkLst>
        </pc:spChg>
        <pc:spChg chg="add mod">
          <ac:chgData name="Nguyen Huy Phuc" userId="39983119-1711-4590-83db-de8f3c63f687" providerId="ADAL" clId="{A580AF81-DDD7-431D-8218-29D8B99B23C4}" dt="2021-03-01T13:29:14.149" v="1366" actId="1076"/>
          <ac:spMkLst>
            <pc:docMk/>
            <pc:sldMk cId="3284769985" sldId="1499"/>
            <ac:spMk id="473" creationId="{F5BAA3DB-FAB6-4B34-BF95-656FB0636ED4}"/>
          </ac:spMkLst>
        </pc:spChg>
        <pc:spChg chg="mod">
          <ac:chgData name="Nguyen Huy Phuc" userId="39983119-1711-4590-83db-de8f3c63f687" providerId="ADAL" clId="{A580AF81-DDD7-431D-8218-29D8B99B23C4}" dt="2021-03-01T13:29:45.641" v="1368" actId="207"/>
          <ac:spMkLst>
            <pc:docMk/>
            <pc:sldMk cId="3284769985" sldId="1499"/>
            <ac:spMk id="475" creationId="{DAE85D65-3C2B-408B-8962-4FBDEB282825}"/>
          </ac:spMkLst>
        </pc:spChg>
        <pc:spChg chg="mod">
          <ac:chgData name="Nguyen Huy Phuc" userId="39983119-1711-4590-83db-de8f3c63f687" providerId="ADAL" clId="{A580AF81-DDD7-431D-8218-29D8B99B23C4}" dt="2021-03-01T13:29:45.641" v="1368" actId="207"/>
          <ac:spMkLst>
            <pc:docMk/>
            <pc:sldMk cId="3284769985" sldId="1499"/>
            <ac:spMk id="476" creationId="{D12BF86B-BE0E-4FEE-9F70-569105F90178}"/>
          </ac:spMkLst>
        </pc:spChg>
        <pc:spChg chg="mod">
          <ac:chgData name="Nguyen Huy Phuc" userId="39983119-1711-4590-83db-de8f3c63f687" providerId="ADAL" clId="{A580AF81-DDD7-431D-8218-29D8B99B23C4}" dt="2021-03-01T13:29:45.641" v="1368" actId="207"/>
          <ac:spMkLst>
            <pc:docMk/>
            <pc:sldMk cId="3284769985" sldId="1499"/>
            <ac:spMk id="477" creationId="{7C7D25FB-D3F2-489C-ABB6-B6FD78C8118F}"/>
          </ac:spMkLst>
        </pc:spChg>
        <pc:spChg chg="mod">
          <ac:chgData name="Nguyen Huy Phuc" userId="39983119-1711-4590-83db-de8f3c63f687" providerId="ADAL" clId="{A580AF81-DDD7-431D-8218-29D8B99B23C4}" dt="2021-03-01T13:29:45.641" v="1368" actId="207"/>
          <ac:spMkLst>
            <pc:docMk/>
            <pc:sldMk cId="3284769985" sldId="1499"/>
            <ac:spMk id="478" creationId="{09478102-BDA2-425C-AE6C-DE3D4DEB044F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0" creationId="{5BFFDA40-1319-41F0-AF70-3A26FC506E96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1" creationId="{FC12614A-794C-405C-8735-C0C4CB1187BD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2" creationId="{3DCF78BB-EB03-40BE-909A-6D03688E3F2E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3" creationId="{7F469B64-0B94-4260-9F0D-AD8A25A8D81D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4" creationId="{769A4481-7792-434C-9CA7-5F2D16BD90C5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5" creationId="{26397013-A463-4C15-816B-D1A4BECE8897}"/>
          </ac:spMkLst>
        </pc:spChg>
        <pc:spChg chg="mod">
          <ac:chgData name="Nguyen Huy Phuc" userId="39983119-1711-4590-83db-de8f3c63f687" providerId="ADAL" clId="{A580AF81-DDD7-431D-8218-29D8B99B23C4}" dt="2021-03-01T13:30:42.244" v="1407" actId="207"/>
          <ac:spMkLst>
            <pc:docMk/>
            <pc:sldMk cId="3284769985" sldId="1499"/>
            <ac:spMk id="486" creationId="{5AEC98B0-3D3E-4AC7-8DBC-F9EF18093ACF}"/>
          </ac:spMkLst>
        </pc:spChg>
        <pc:spChg chg="add mod">
          <ac:chgData name="Nguyen Huy Phuc" userId="39983119-1711-4590-83db-de8f3c63f687" providerId="ADAL" clId="{A580AF81-DDD7-431D-8218-29D8B99B23C4}" dt="2021-03-01T14:00:01.805" v="1505" actId="113"/>
          <ac:spMkLst>
            <pc:docMk/>
            <pc:sldMk cId="3284769985" sldId="1499"/>
            <ac:spMk id="487" creationId="{F1AD1FC1-000E-422C-A1BF-C6BD6748C54C}"/>
          </ac:spMkLst>
        </pc:spChg>
        <pc:grpChg chg="del">
          <ac:chgData name="Nguyen Huy Phuc" userId="39983119-1711-4590-83db-de8f3c63f687" providerId="ADAL" clId="{A580AF81-DDD7-431D-8218-29D8B99B23C4}" dt="2021-03-01T12:48:13.586" v="743" actId="478"/>
          <ac:grpSpMkLst>
            <pc:docMk/>
            <pc:sldMk cId="3284769985" sldId="1499"/>
            <ac:grpSpMk id="2" creationId="{C8F7E2CD-83D8-4E80-B680-0200AA6D1F5D}"/>
          </ac:grpSpMkLst>
        </pc:grpChg>
        <pc:grpChg chg="del">
          <ac:chgData name="Nguyen Huy Phuc" userId="39983119-1711-4590-83db-de8f3c63f687" providerId="ADAL" clId="{A580AF81-DDD7-431D-8218-29D8B99B23C4}" dt="2021-03-01T12:48:13.586" v="743" actId="478"/>
          <ac:grpSpMkLst>
            <pc:docMk/>
            <pc:sldMk cId="3284769985" sldId="1499"/>
            <ac:grpSpMk id="96" creationId="{E201167D-9784-442D-B08E-10CD55EDDDC4}"/>
          </ac:grpSpMkLst>
        </pc:grpChg>
        <pc:grpChg chg="del">
          <ac:chgData name="Nguyen Huy Phuc" userId="39983119-1711-4590-83db-de8f3c63f687" providerId="ADAL" clId="{A580AF81-DDD7-431D-8218-29D8B99B23C4}" dt="2021-03-01T12:48:13.586" v="743" actId="478"/>
          <ac:grpSpMkLst>
            <pc:docMk/>
            <pc:sldMk cId="3284769985" sldId="1499"/>
            <ac:grpSpMk id="100" creationId="{AB15D826-A2EB-4447-BF10-72C329E0C564}"/>
          </ac:grpSpMkLst>
        </pc:grpChg>
        <pc:grpChg chg="del">
          <ac:chgData name="Nguyen Huy Phuc" userId="39983119-1711-4590-83db-de8f3c63f687" providerId="ADAL" clId="{A580AF81-DDD7-431D-8218-29D8B99B23C4}" dt="2021-03-01T12:48:13.586" v="743" actId="478"/>
          <ac:grpSpMkLst>
            <pc:docMk/>
            <pc:sldMk cId="3284769985" sldId="1499"/>
            <ac:grpSpMk id="129" creationId="{B79470F5-567F-4BC3-830A-B73B375D16CD}"/>
          </ac:grpSpMkLst>
        </pc:grpChg>
        <pc:grpChg chg="add del mod">
          <ac:chgData name="Nguyen Huy Phuc" userId="39983119-1711-4590-83db-de8f3c63f687" providerId="ADAL" clId="{A580AF81-DDD7-431D-8218-29D8B99B23C4}" dt="2021-03-01T12:48:15.034" v="745"/>
          <ac:grpSpMkLst>
            <pc:docMk/>
            <pc:sldMk cId="3284769985" sldId="1499"/>
            <ac:grpSpMk id="163" creationId="{AF977990-9867-4408-978D-2D7CC1D4FFDD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4" creationId="{4DCB5BFE-10D0-4BB9-AD8A-192840526F2A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5" creationId="{54A0E515-B6DE-41C5-A3E5-DCF1D2466DB8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6" creationId="{E4C33ACB-77BC-4EFA-AB27-53B69F57EB56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7" creationId="{CFF91480-0271-4F7F-A56F-6696D78B56E2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8" creationId="{CC841BC6-9FB6-489B-8CC9-8D4331B40542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69" creationId="{56E1CCF6-56DF-45E0-890D-409754A98127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78" creationId="{FE3191B2-1322-4866-805B-B710779F4B0E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87" creationId="{3FDAA91E-FA41-4631-8961-E52DE88DA598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96" creationId="{7D481EBA-B315-4F2E-BCDF-D4F28578AE85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97" creationId="{C4F27EF1-1C07-4C47-BECA-96FB7FF49187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98" creationId="{8A018C49-2398-4C5F-A47C-7770AD2034C8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199" creationId="{FE0E2752-C49F-4A7A-B049-0B5AE4E57ED6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208" creationId="{D6937E52-2991-4D29-841B-568C7B0864BE}"/>
          </ac:grpSpMkLst>
        </pc:grpChg>
        <pc:grpChg chg="mod">
          <ac:chgData name="Nguyen Huy Phuc" userId="39983119-1711-4590-83db-de8f3c63f687" providerId="ADAL" clId="{A580AF81-DDD7-431D-8218-29D8B99B23C4}" dt="2021-03-01T12:48:14.001" v="744"/>
          <ac:grpSpMkLst>
            <pc:docMk/>
            <pc:sldMk cId="3284769985" sldId="1499"/>
            <ac:grpSpMk id="217" creationId="{5300F1D5-931C-4A74-94EC-D9ED9FDAF089}"/>
          </ac:grpSpMkLst>
        </pc:grpChg>
        <pc:grpChg chg="add del 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26" creationId="{69694A8A-F922-4737-A912-4B3EC1256D73}"/>
          </ac:grpSpMkLst>
        </pc:grpChg>
        <pc:grpChg chg="del mod topLvl">
          <ac:chgData name="Nguyen Huy Phuc" userId="39983119-1711-4590-83db-de8f3c63f687" providerId="ADAL" clId="{A580AF81-DDD7-431D-8218-29D8B99B23C4}" dt="2021-03-01T12:48:52.817" v="769" actId="165"/>
          <ac:grpSpMkLst>
            <pc:docMk/>
            <pc:sldMk cId="3284769985" sldId="1499"/>
            <ac:grpSpMk id="227" creationId="{7E45C841-5494-48BA-B02A-3F327DAB0F0B}"/>
          </ac:grpSpMkLst>
        </pc:grpChg>
        <pc:grpChg chg="del mod topLvl">
          <ac:chgData name="Nguyen Huy Phuc" userId="39983119-1711-4590-83db-de8f3c63f687" providerId="ADAL" clId="{A580AF81-DDD7-431D-8218-29D8B99B23C4}" dt="2021-03-01T12:49:16.704" v="777" actId="478"/>
          <ac:grpSpMkLst>
            <pc:docMk/>
            <pc:sldMk cId="3284769985" sldId="1499"/>
            <ac:grpSpMk id="228" creationId="{529A9664-F87C-453C-98AD-E22F3323CCA4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29" creationId="{9523D797-629D-4A9F-93DC-5581EDA4B3EE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30" creationId="{FE1FBC92-9739-4618-BAB4-6CD46227DD36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31" creationId="{62E23E3D-3255-49E9-9BDD-D1AD07CB6F4C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32" creationId="{1489AABA-DA8B-4A28-9A20-8C17C515DD66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48" creationId="{5E66AB58-0DE0-420D-BE65-1106CC9C9D2F}"/>
          </ac:grpSpMkLst>
        </pc:grpChg>
        <pc:grpChg chg="del">
          <ac:chgData name="Nguyen Huy Phuc" userId="39983119-1711-4590-83db-de8f3c63f687" providerId="ADAL" clId="{A580AF81-DDD7-431D-8218-29D8B99B23C4}" dt="2021-03-01T12:48:13.586" v="743" actId="478"/>
          <ac:grpSpMkLst>
            <pc:docMk/>
            <pc:sldMk cId="3284769985" sldId="1499"/>
            <ac:grpSpMk id="250" creationId="{76792F63-791F-4AE7-BBC5-2881B244DB10}"/>
          </ac:grpSpMkLst>
        </pc:grpChg>
        <pc:grpChg chg="mod">
          <ac:chgData name="Nguyen Huy Phuc" userId="39983119-1711-4590-83db-de8f3c63f687" providerId="ADAL" clId="{A580AF81-DDD7-431D-8218-29D8B99B23C4}" dt="2021-03-01T12:48:31.602" v="751" actId="165"/>
          <ac:grpSpMkLst>
            <pc:docMk/>
            <pc:sldMk cId="3284769985" sldId="1499"/>
            <ac:grpSpMk id="285" creationId="{FB47E73D-4773-4C88-9828-BDA0152BFB6F}"/>
          </ac:grpSpMkLst>
        </pc:grpChg>
        <pc:grpChg chg="del mod topLvl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297" creationId="{6A6F2E3C-DF7B-4128-A404-B120206C16FE}"/>
          </ac:grpSpMkLst>
        </pc:grpChg>
        <pc:grpChg chg="del mod topLvl">
          <ac:chgData name="Nguyen Huy Phuc" userId="39983119-1711-4590-83db-de8f3c63f687" providerId="ADAL" clId="{A580AF81-DDD7-431D-8218-29D8B99B23C4}" dt="2021-03-01T12:49:19.071" v="778" actId="478"/>
          <ac:grpSpMkLst>
            <pc:docMk/>
            <pc:sldMk cId="3284769985" sldId="1499"/>
            <ac:grpSpMk id="298" creationId="{E82DC0F2-7DD8-4FD1-8D2C-BD1274A975F5}"/>
          </ac:grpSpMkLst>
        </pc:grpChg>
        <pc:grpChg chg="del mod topLvl">
          <ac:chgData name="Nguyen Huy Phuc" userId="39983119-1711-4590-83db-de8f3c63f687" providerId="ADAL" clId="{A580AF81-DDD7-431D-8218-29D8B99B23C4}" dt="2021-03-01T12:49:19.071" v="778" actId="478"/>
          <ac:grpSpMkLst>
            <pc:docMk/>
            <pc:sldMk cId="3284769985" sldId="1499"/>
            <ac:grpSpMk id="299" creationId="{68CE3B2D-3B24-4723-AFCF-0EE27541B54A}"/>
          </ac:grpSpMkLst>
        </pc:grpChg>
        <pc:grpChg chg="mod">
          <ac:chgData name="Nguyen Huy Phuc" userId="39983119-1711-4590-83db-de8f3c63f687" providerId="ADAL" clId="{A580AF81-DDD7-431D-8218-29D8B99B23C4}" dt="2021-03-01T12:48:52.817" v="769" actId="165"/>
          <ac:grpSpMkLst>
            <pc:docMk/>
            <pc:sldMk cId="3284769985" sldId="1499"/>
            <ac:grpSpMk id="300" creationId="{B22767FA-6930-4D8B-AE08-5CD381527161}"/>
          </ac:grpSpMkLst>
        </pc:grpChg>
        <pc:grpChg chg="mod">
          <ac:chgData name="Nguyen Huy Phuc" userId="39983119-1711-4590-83db-de8f3c63f687" providerId="ADAL" clId="{A580AF81-DDD7-431D-8218-29D8B99B23C4}" dt="2021-03-01T12:48:52.817" v="769" actId="165"/>
          <ac:grpSpMkLst>
            <pc:docMk/>
            <pc:sldMk cId="3284769985" sldId="1499"/>
            <ac:grpSpMk id="309" creationId="{3BD3C247-3468-4AB2-BC8A-8A87644944A6}"/>
          </ac:grpSpMkLst>
        </pc:grpChg>
        <pc:grpChg chg="del mod topLvl">
          <ac:chgData name="Nguyen Huy Phuc" userId="39983119-1711-4590-83db-de8f3c63f687" providerId="ADAL" clId="{A580AF81-DDD7-431D-8218-29D8B99B23C4}" dt="2021-03-01T13:12:35.731" v="1162" actId="165"/>
          <ac:grpSpMkLst>
            <pc:docMk/>
            <pc:sldMk cId="3284769985" sldId="1499"/>
            <ac:grpSpMk id="318" creationId="{7E8E3F21-9B4D-44B8-8DFF-0F80E6EAFC24}"/>
          </ac:grpSpMkLst>
        </pc:grpChg>
        <pc:grpChg chg="add del mod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328" creationId="{9A8952ED-6C4E-4888-BD52-FC28D2EFFB99}"/>
          </ac:grpSpMkLst>
        </pc:grpChg>
        <pc:grpChg chg="del mod topLvl">
          <ac:chgData name="Nguyen Huy Phuc" userId="39983119-1711-4590-83db-de8f3c63f687" providerId="ADAL" clId="{A580AF81-DDD7-431D-8218-29D8B99B23C4}" dt="2021-03-01T13:17:48.829" v="1172" actId="165"/>
          <ac:grpSpMkLst>
            <pc:docMk/>
            <pc:sldMk cId="3284769985" sldId="1499"/>
            <ac:grpSpMk id="329" creationId="{E78BEA76-6521-4A05-875C-2FB68E057DBD}"/>
          </ac:grpSpMkLst>
        </pc:grpChg>
        <pc:grpChg chg="add del mod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338" creationId="{C89159E9-3AEE-4DA4-AA16-5BC14A386178}"/>
          </ac:grpSpMkLst>
        </pc:grpChg>
        <pc:grpChg chg="del mod topLvl">
          <ac:chgData name="Nguyen Huy Phuc" userId="39983119-1711-4590-83db-de8f3c63f687" providerId="ADAL" clId="{A580AF81-DDD7-431D-8218-29D8B99B23C4}" dt="2021-03-01T13:19:33.758" v="1199" actId="165"/>
          <ac:grpSpMkLst>
            <pc:docMk/>
            <pc:sldMk cId="3284769985" sldId="1499"/>
            <ac:grpSpMk id="339" creationId="{90E7865F-D21A-48EB-9989-6A319C5C379E}"/>
          </ac:grpSpMkLst>
        </pc:grpChg>
        <pc:grpChg chg="add del mod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348" creationId="{DD6A90CC-4F80-4B90-ABFC-2A24E33638D6}"/>
          </ac:grpSpMkLst>
        </pc:grpChg>
        <pc:grpChg chg="del mod topLvl">
          <ac:chgData name="Nguyen Huy Phuc" userId="39983119-1711-4590-83db-de8f3c63f687" providerId="ADAL" clId="{A580AF81-DDD7-431D-8218-29D8B99B23C4}" dt="2021-03-01T13:19:51.269" v="1203" actId="165"/>
          <ac:grpSpMkLst>
            <pc:docMk/>
            <pc:sldMk cId="3284769985" sldId="1499"/>
            <ac:grpSpMk id="349" creationId="{399C44C4-567B-4A6E-BB78-A8365CD0367B}"/>
          </ac:grpSpMkLst>
        </pc:grpChg>
        <pc:grpChg chg="add del mod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358" creationId="{5EA785EA-78C6-4F0D-BCD8-B66AD9163670}"/>
          </ac:grpSpMkLst>
        </pc:grpChg>
        <pc:grpChg chg="del mod topLvl">
          <ac:chgData name="Nguyen Huy Phuc" userId="39983119-1711-4590-83db-de8f3c63f687" providerId="ADAL" clId="{A580AF81-DDD7-431D-8218-29D8B99B23C4}" dt="2021-03-01T13:20:39.746" v="1228" actId="165"/>
          <ac:grpSpMkLst>
            <pc:docMk/>
            <pc:sldMk cId="3284769985" sldId="1499"/>
            <ac:grpSpMk id="359" creationId="{CF3E01D9-2301-4E7E-A953-41430E8A1AE3}"/>
          </ac:grpSpMkLst>
        </pc:grpChg>
        <pc:grpChg chg="add del mod">
          <ac:chgData name="Nguyen Huy Phuc" userId="39983119-1711-4590-83db-de8f3c63f687" providerId="ADAL" clId="{A580AF81-DDD7-431D-8218-29D8B99B23C4}" dt="2021-03-01T13:12:29.115" v="1161" actId="165"/>
          <ac:grpSpMkLst>
            <pc:docMk/>
            <pc:sldMk cId="3284769985" sldId="1499"/>
            <ac:grpSpMk id="368" creationId="{FE8A5231-9535-41F6-B8D0-A2CBFF562CD7}"/>
          </ac:grpSpMkLst>
        </pc:grpChg>
        <pc:grpChg chg="del mod topLvl">
          <ac:chgData name="Nguyen Huy Phuc" userId="39983119-1711-4590-83db-de8f3c63f687" providerId="ADAL" clId="{A580AF81-DDD7-431D-8218-29D8B99B23C4}" dt="2021-03-01T13:21:11.940" v="1231" actId="165"/>
          <ac:grpSpMkLst>
            <pc:docMk/>
            <pc:sldMk cId="3284769985" sldId="1499"/>
            <ac:grpSpMk id="369" creationId="{C55BDE34-6851-41A9-9767-DE8C664F952F}"/>
          </ac:grpSpMkLst>
        </pc:grpChg>
        <pc:grpChg chg="add mod">
          <ac:chgData name="Nguyen Huy Phuc" userId="39983119-1711-4590-83db-de8f3c63f687" providerId="ADAL" clId="{A580AF81-DDD7-431D-8218-29D8B99B23C4}" dt="2021-03-01T13:25:41.109" v="1313" actId="1036"/>
          <ac:grpSpMkLst>
            <pc:docMk/>
            <pc:sldMk cId="3284769985" sldId="1499"/>
            <ac:grpSpMk id="391" creationId="{5A76AA8D-F8A0-4B7E-94F4-E6B3C4F35711}"/>
          </ac:grpSpMkLst>
        </pc:grpChg>
        <pc:grpChg chg="add mod">
          <ac:chgData name="Nguyen Huy Phuc" userId="39983119-1711-4590-83db-de8f3c63f687" providerId="ADAL" clId="{A580AF81-DDD7-431D-8218-29D8B99B23C4}" dt="2021-03-01T13:27:52.180" v="1359" actId="1036"/>
          <ac:grpSpMkLst>
            <pc:docMk/>
            <pc:sldMk cId="3284769985" sldId="1499"/>
            <ac:grpSpMk id="398" creationId="{F73C913F-844B-4DB5-8F6D-6C4B6359BF9D}"/>
          </ac:grpSpMkLst>
        </pc:grpChg>
        <pc:grpChg chg="add mod">
          <ac:chgData name="Nguyen Huy Phuc" userId="39983119-1711-4590-83db-de8f3c63f687" providerId="ADAL" clId="{A580AF81-DDD7-431D-8218-29D8B99B23C4}" dt="2021-03-01T13:28:13.185" v="1360" actId="1076"/>
          <ac:grpSpMkLst>
            <pc:docMk/>
            <pc:sldMk cId="3284769985" sldId="1499"/>
            <ac:grpSpMk id="403" creationId="{198B5F73-6B5F-409E-9C1E-BB818CFD08E1}"/>
          </ac:grpSpMkLst>
        </pc:grpChg>
        <pc:grpChg chg="add mod">
          <ac:chgData name="Nguyen Huy Phuc" userId="39983119-1711-4590-83db-de8f3c63f687" providerId="ADAL" clId="{A580AF81-DDD7-431D-8218-29D8B99B23C4}" dt="2021-03-01T13:30:04.906" v="1382" actId="1036"/>
          <ac:grpSpMkLst>
            <pc:docMk/>
            <pc:sldMk cId="3284769985" sldId="1499"/>
            <ac:grpSpMk id="474" creationId="{378C6AD6-ED63-4CA9-B00D-110F09D368D5}"/>
          </ac:grpSpMkLst>
        </pc:grpChg>
        <pc:grpChg chg="add mod">
          <ac:chgData name="Nguyen Huy Phuc" userId="39983119-1711-4590-83db-de8f3c63f687" providerId="ADAL" clId="{A580AF81-DDD7-431D-8218-29D8B99B23C4}" dt="2021-03-01T13:30:46.901" v="1410" actId="1035"/>
          <ac:grpSpMkLst>
            <pc:docMk/>
            <pc:sldMk cId="3284769985" sldId="1499"/>
            <ac:grpSpMk id="479" creationId="{77054F9A-3BB5-4257-B3DB-D3B4EDA5522F}"/>
          </ac:grpSpMkLst>
        </pc:grpChg>
        <pc:picChg chg="add mod modCrop">
          <ac:chgData name="Nguyen Huy Phuc" userId="39983119-1711-4590-83db-de8f3c63f687" providerId="ADAL" clId="{A580AF81-DDD7-431D-8218-29D8B99B23C4}" dt="2021-03-01T13:24:10.619" v="1286" actId="1076"/>
          <ac:picMkLst>
            <pc:docMk/>
            <pc:sldMk cId="3284769985" sldId="1499"/>
            <ac:picMk id="8" creationId="{7D12AB7D-0F0F-441E-B0FB-B569D0C245D2}"/>
          </ac:picMkLst>
        </pc:picChg>
        <pc:picChg chg="del">
          <ac:chgData name="Nguyen Huy Phuc" userId="39983119-1711-4590-83db-de8f3c63f687" providerId="ADAL" clId="{A580AF81-DDD7-431D-8218-29D8B99B23C4}" dt="2021-03-01T12:48:13.586" v="743" actId="478"/>
          <ac:picMkLst>
            <pc:docMk/>
            <pc:sldMk cId="3284769985" sldId="1499"/>
            <ac:picMk id="9" creationId="{1D3FD652-FA8F-40D8-97BA-58F7A0E31C5A}"/>
          </ac:picMkLst>
        </pc:picChg>
        <pc:picChg chg="del">
          <ac:chgData name="Nguyen Huy Phuc" userId="39983119-1711-4590-83db-de8f3c63f687" providerId="ADAL" clId="{A580AF81-DDD7-431D-8218-29D8B99B23C4}" dt="2021-03-01T12:48:13.586" v="743" actId="478"/>
          <ac:picMkLst>
            <pc:docMk/>
            <pc:sldMk cId="3284769985" sldId="1499"/>
            <ac:picMk id="87" creationId="{BC38FF6C-8090-4DD4-AE52-7FA6189FA377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171" creationId="{5EDF9A86-B3D7-482D-80C8-C07CC94D9158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180" creationId="{415E8799-1B23-4D8A-9401-032F789CE157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189" creationId="{ADE4238F-FD57-4C96-8894-984F2AA0772E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201" creationId="{639BE6E6-D5DE-47DD-87A8-D98410E4F8A3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210" creationId="{A0659E24-0DFB-479A-9B27-BA2A5D210ECE}"/>
          </ac:picMkLst>
        </pc:picChg>
        <pc:picChg chg="mod">
          <ac:chgData name="Nguyen Huy Phuc" userId="39983119-1711-4590-83db-de8f3c63f687" providerId="ADAL" clId="{A580AF81-DDD7-431D-8218-29D8B99B23C4}" dt="2021-03-01T12:48:14.001" v="744"/>
          <ac:picMkLst>
            <pc:docMk/>
            <pc:sldMk cId="3284769985" sldId="1499"/>
            <ac:picMk id="219" creationId="{82830175-8F5F-4928-B62B-6D68E793DCD6}"/>
          </ac:picMkLst>
        </pc:picChg>
        <pc:picChg chg="mod">
          <ac:chgData name="Nguyen Huy Phuc" userId="39983119-1711-4590-83db-de8f3c63f687" providerId="ADAL" clId="{A580AF81-DDD7-431D-8218-29D8B99B23C4}" dt="2021-03-01T12:48:31.602" v="751" actId="165"/>
          <ac:picMkLst>
            <pc:docMk/>
            <pc:sldMk cId="3284769985" sldId="1499"/>
            <ac:picMk id="234" creationId="{1B9BD087-641C-41A6-8895-E5E471ECAA07}"/>
          </ac:picMkLst>
        </pc:picChg>
        <pc:picChg chg="mod">
          <ac:chgData name="Nguyen Huy Phuc" userId="39983119-1711-4590-83db-de8f3c63f687" providerId="ADAL" clId="{A580AF81-DDD7-431D-8218-29D8B99B23C4}" dt="2021-03-01T12:48:31.602" v="751" actId="165"/>
          <ac:picMkLst>
            <pc:docMk/>
            <pc:sldMk cId="3284769985" sldId="1499"/>
            <ac:picMk id="278" creationId="{7CE4842B-A782-4D3C-B09A-5F5281A69F0B}"/>
          </ac:picMkLst>
        </pc:picChg>
        <pc:picChg chg="mod">
          <ac:chgData name="Nguyen Huy Phuc" userId="39983119-1711-4590-83db-de8f3c63f687" providerId="ADAL" clId="{A580AF81-DDD7-431D-8218-29D8B99B23C4}" dt="2021-03-01T12:48:31.602" v="751" actId="165"/>
          <ac:picMkLst>
            <pc:docMk/>
            <pc:sldMk cId="3284769985" sldId="1499"/>
            <ac:picMk id="287" creationId="{1934E7B1-743A-4199-8043-F39D563823CB}"/>
          </ac:picMkLst>
        </pc:picChg>
        <pc:picChg chg="mod">
          <ac:chgData name="Nguyen Huy Phuc" userId="39983119-1711-4590-83db-de8f3c63f687" providerId="ADAL" clId="{A580AF81-DDD7-431D-8218-29D8B99B23C4}" dt="2021-03-01T12:48:52.817" v="769" actId="165"/>
          <ac:picMkLst>
            <pc:docMk/>
            <pc:sldMk cId="3284769985" sldId="1499"/>
            <ac:picMk id="302" creationId="{D9DE27DA-F37B-4524-ACE2-9E0ABECEE7D0}"/>
          </ac:picMkLst>
        </pc:picChg>
        <pc:picChg chg="mod">
          <ac:chgData name="Nguyen Huy Phuc" userId="39983119-1711-4590-83db-de8f3c63f687" providerId="ADAL" clId="{A580AF81-DDD7-431D-8218-29D8B99B23C4}" dt="2021-03-01T12:48:52.817" v="769" actId="165"/>
          <ac:picMkLst>
            <pc:docMk/>
            <pc:sldMk cId="3284769985" sldId="1499"/>
            <ac:picMk id="311" creationId="{5EE2B207-ABDE-4822-BAD7-A4A10AEC51CC}"/>
          </ac:picMkLst>
        </pc:picChg>
        <pc:picChg chg="del mod topLvl">
          <ac:chgData name="Nguyen Huy Phuc" userId="39983119-1711-4590-83db-de8f3c63f687" providerId="ADAL" clId="{A580AF81-DDD7-431D-8218-29D8B99B23C4}" dt="2021-03-01T13:19:06.395" v="1190" actId="478"/>
          <ac:picMkLst>
            <pc:docMk/>
            <pc:sldMk cId="3284769985" sldId="1499"/>
            <ac:picMk id="320" creationId="{DCB9076D-A38C-468D-BAA3-C1517683C4E1}"/>
          </ac:picMkLst>
        </pc:picChg>
        <pc:picChg chg="del mod topLvl">
          <ac:chgData name="Nguyen Huy Phuc" userId="39983119-1711-4590-83db-de8f3c63f687" providerId="ADAL" clId="{A580AF81-DDD7-431D-8218-29D8B99B23C4}" dt="2021-03-01T13:19:08.092" v="1191" actId="478"/>
          <ac:picMkLst>
            <pc:docMk/>
            <pc:sldMk cId="3284769985" sldId="1499"/>
            <ac:picMk id="331" creationId="{7D27C45F-BBF0-4713-8917-3F08E2749EB6}"/>
          </ac:picMkLst>
        </pc:picChg>
        <pc:picChg chg="del mod topLvl">
          <ac:chgData name="Nguyen Huy Phuc" userId="39983119-1711-4590-83db-de8f3c63f687" providerId="ADAL" clId="{A580AF81-DDD7-431D-8218-29D8B99B23C4}" dt="2021-03-01T13:19:09.181" v="1192" actId="478"/>
          <ac:picMkLst>
            <pc:docMk/>
            <pc:sldMk cId="3284769985" sldId="1499"/>
            <ac:picMk id="341" creationId="{09A00461-9964-4A4F-8F7F-A5E1E1D7E591}"/>
          </ac:picMkLst>
        </pc:picChg>
        <pc:picChg chg="del mod topLvl">
          <ac:chgData name="Nguyen Huy Phuc" userId="39983119-1711-4590-83db-de8f3c63f687" providerId="ADAL" clId="{A580AF81-DDD7-431D-8218-29D8B99B23C4}" dt="2021-03-01T13:19:10.020" v="1193" actId="478"/>
          <ac:picMkLst>
            <pc:docMk/>
            <pc:sldMk cId="3284769985" sldId="1499"/>
            <ac:picMk id="351" creationId="{CFADC50C-DCA9-464F-91FA-E440CBB1B5D5}"/>
          </ac:picMkLst>
        </pc:picChg>
        <pc:picChg chg="del mod topLvl">
          <ac:chgData name="Nguyen Huy Phuc" userId="39983119-1711-4590-83db-de8f3c63f687" providerId="ADAL" clId="{A580AF81-DDD7-431D-8218-29D8B99B23C4}" dt="2021-03-01T13:19:11.100" v="1194" actId="478"/>
          <ac:picMkLst>
            <pc:docMk/>
            <pc:sldMk cId="3284769985" sldId="1499"/>
            <ac:picMk id="361" creationId="{AAE9CC17-0BF7-4DD6-8C48-E14EDE0802A4}"/>
          </ac:picMkLst>
        </pc:picChg>
        <pc:picChg chg="del mod topLvl">
          <ac:chgData name="Nguyen Huy Phuc" userId="39983119-1711-4590-83db-de8f3c63f687" providerId="ADAL" clId="{A580AF81-DDD7-431D-8218-29D8B99B23C4}" dt="2021-03-01T13:19:12.140" v="1195" actId="478"/>
          <ac:picMkLst>
            <pc:docMk/>
            <pc:sldMk cId="3284769985" sldId="1499"/>
            <ac:picMk id="371" creationId="{2877FE61-AED5-4A8F-804E-47B2BFF3206A}"/>
          </ac:picMkLst>
        </pc:picChg>
        <pc:picChg chg="add mod">
          <ac:chgData name="Nguyen Huy Phuc" userId="39983119-1711-4590-83db-de8f3c63f687" providerId="ADAL" clId="{A580AF81-DDD7-431D-8218-29D8B99B23C4}" dt="2021-03-01T13:24:48.469" v="1298" actId="1035"/>
          <ac:picMkLst>
            <pc:docMk/>
            <pc:sldMk cId="3284769985" sldId="1499"/>
            <ac:picMk id="378" creationId="{00E1556E-F0C3-4B1D-AD7A-4CD98E7D1DAF}"/>
          </ac:picMkLst>
        </pc:picChg>
        <pc:picChg chg="add mod">
          <ac:chgData name="Nguyen Huy Phuc" userId="39983119-1711-4590-83db-de8f3c63f687" providerId="ADAL" clId="{A580AF81-DDD7-431D-8218-29D8B99B23C4}" dt="2021-03-01T13:24:48.469" v="1298" actId="1035"/>
          <ac:picMkLst>
            <pc:docMk/>
            <pc:sldMk cId="3284769985" sldId="1499"/>
            <ac:picMk id="379" creationId="{BB368620-E334-4184-B24C-B3890236F583}"/>
          </ac:picMkLst>
        </pc:picChg>
        <pc:picChg chg="add mod">
          <ac:chgData name="Nguyen Huy Phuc" userId="39983119-1711-4590-83db-de8f3c63f687" providerId="ADAL" clId="{A580AF81-DDD7-431D-8218-29D8B99B23C4}" dt="2021-03-01T13:00:05.461" v="1011" actId="14100"/>
          <ac:picMkLst>
            <pc:docMk/>
            <pc:sldMk cId="3284769985" sldId="1499"/>
            <ac:picMk id="380" creationId="{0E359251-F198-4C7B-81C6-DA242D54CBC5}"/>
          </ac:picMkLst>
        </pc:picChg>
        <pc:picChg chg="add del mod">
          <ac:chgData name="Nguyen Huy Phuc" userId="39983119-1711-4590-83db-de8f3c63f687" providerId="ADAL" clId="{A580AF81-DDD7-431D-8218-29D8B99B23C4}" dt="2021-03-01T13:19:05.371" v="1189" actId="478"/>
          <ac:picMkLst>
            <pc:docMk/>
            <pc:sldMk cId="3284769985" sldId="1499"/>
            <ac:picMk id="385" creationId="{9AE176E2-5981-4423-B19D-87049440A1D7}"/>
          </ac:picMkLst>
        </pc:picChg>
        <pc:picChg chg="add del mod">
          <ac:chgData name="Nguyen Huy Phuc" userId="39983119-1711-4590-83db-de8f3c63f687" providerId="ADAL" clId="{A580AF81-DDD7-431D-8218-29D8B99B23C4}" dt="2021-03-01T13:19:05.021" v="1188" actId="478"/>
          <ac:picMkLst>
            <pc:docMk/>
            <pc:sldMk cId="3284769985" sldId="1499"/>
            <ac:picMk id="386" creationId="{AC28C26F-4F6A-4C75-9B9F-B9A917981C23}"/>
          </ac:picMkLst>
        </pc:picChg>
        <pc:picChg chg="add del mod">
          <ac:chgData name="Nguyen Huy Phuc" userId="39983119-1711-4590-83db-de8f3c63f687" providerId="ADAL" clId="{A580AF81-DDD7-431D-8218-29D8B99B23C4}" dt="2021-03-01T13:19:04.333" v="1187" actId="478"/>
          <ac:picMkLst>
            <pc:docMk/>
            <pc:sldMk cId="3284769985" sldId="1499"/>
            <ac:picMk id="387" creationId="{F2D0301E-C700-4F17-AC70-F389CF827769}"/>
          </ac:picMkLst>
        </pc:picChg>
        <pc:picChg chg="add del mod">
          <ac:chgData name="Nguyen Huy Phuc" userId="39983119-1711-4590-83db-de8f3c63f687" providerId="ADAL" clId="{A580AF81-DDD7-431D-8218-29D8B99B23C4}" dt="2021-03-01T13:19:03.100" v="1185" actId="478"/>
          <ac:picMkLst>
            <pc:docMk/>
            <pc:sldMk cId="3284769985" sldId="1499"/>
            <ac:picMk id="388" creationId="{0186B25C-D873-44D0-9F9C-F02F694310AE}"/>
          </ac:picMkLst>
        </pc:picChg>
        <pc:picChg chg="add del mod">
          <ac:chgData name="Nguyen Huy Phuc" userId="39983119-1711-4590-83db-de8f3c63f687" providerId="ADAL" clId="{A580AF81-DDD7-431D-8218-29D8B99B23C4}" dt="2021-03-01T13:19:03.644" v="1186" actId="478"/>
          <ac:picMkLst>
            <pc:docMk/>
            <pc:sldMk cId="3284769985" sldId="1499"/>
            <ac:picMk id="389" creationId="{64645DDF-5713-4DBD-9C36-F0BBE2CCF363}"/>
          </ac:picMkLst>
        </pc:picChg>
        <pc:picChg chg="add mod">
          <ac:chgData name="Nguyen Huy Phuc" userId="39983119-1711-4590-83db-de8f3c63f687" providerId="ADAL" clId="{A580AF81-DDD7-431D-8218-29D8B99B23C4}" dt="2021-03-01T13:24:48.469" v="1298" actId="1035"/>
          <ac:picMkLst>
            <pc:docMk/>
            <pc:sldMk cId="3284769985" sldId="1499"/>
            <ac:picMk id="1026" creationId="{A7C2867A-5FDC-47AB-967E-D34B2C96E7BA}"/>
          </ac:picMkLst>
        </pc:picChg>
        <pc:picChg chg="add mod">
          <ac:chgData name="Nguyen Huy Phuc" userId="39983119-1711-4590-83db-de8f3c63f687" providerId="ADAL" clId="{A580AF81-DDD7-431D-8218-29D8B99B23C4}" dt="2021-03-01T13:24:48.469" v="1298" actId="1035"/>
          <ac:picMkLst>
            <pc:docMk/>
            <pc:sldMk cId="3284769985" sldId="1499"/>
            <ac:picMk id="1028" creationId="{8E69888D-1187-41DC-AD93-E74800457DF6}"/>
          </ac:picMkLst>
        </pc:picChg>
        <pc:picChg chg="add mod">
          <ac:chgData name="Nguyen Huy Phuc" userId="39983119-1711-4590-83db-de8f3c63f687" providerId="ADAL" clId="{A580AF81-DDD7-431D-8218-29D8B99B23C4}" dt="2021-03-01T13:11:24.501" v="1131" actId="1076"/>
          <ac:picMkLst>
            <pc:docMk/>
            <pc:sldMk cId="3284769985" sldId="1499"/>
            <ac:picMk id="1030" creationId="{9B8DE619-5A4A-40E2-99E7-2F4EA02AE00A}"/>
          </ac:picMkLst>
        </pc:picChg>
        <pc:cxnChg chg="add mod">
          <ac:chgData name="Nguyen Huy Phuc" userId="39983119-1711-4590-83db-de8f3c63f687" providerId="ADAL" clId="{A580AF81-DDD7-431D-8218-29D8B99B23C4}" dt="2021-03-01T13:24:36.674" v="1291" actId="14100"/>
          <ac:cxnSpMkLst>
            <pc:docMk/>
            <pc:sldMk cId="3284769985" sldId="1499"/>
            <ac:cxnSpMk id="15" creationId="{BBB9148C-D5FF-41F0-844D-5A7250D286D4}"/>
          </ac:cxnSpMkLst>
        </pc:cxnChg>
      </pc:sldChg>
      <pc:sldMasterChg chg="delSldLayout">
        <pc:chgData name="Nguyen Huy Phuc" userId="39983119-1711-4590-83db-de8f3c63f687" providerId="ADAL" clId="{A580AF81-DDD7-431D-8218-29D8B99B23C4}" dt="2021-03-01T13:22:50.050" v="1247" actId="47"/>
        <pc:sldMasterMkLst>
          <pc:docMk/>
          <pc:sldMasterMk cId="2886293145" sldId="2147483648"/>
        </pc:sldMasterMkLst>
        <pc:sldLayoutChg chg="del">
          <pc:chgData name="Nguyen Huy Phuc" userId="39983119-1711-4590-83db-de8f3c63f687" providerId="ADAL" clId="{A580AF81-DDD7-431D-8218-29D8B99B23C4}" dt="2021-03-01T13:22:50.050" v="1247" actId="47"/>
          <pc:sldLayoutMkLst>
            <pc:docMk/>
            <pc:sldMasterMk cId="2886293145" sldId="2147483648"/>
            <pc:sldLayoutMk cId="3200186202" sldId="2147483724"/>
          </pc:sldLayoutMkLst>
        </pc:sldLayoutChg>
      </pc:sldMasterChg>
      <pc:sldMasterChg chg="modSp mod">
        <pc:chgData name="Nguyen Huy Phuc" userId="39983119-1711-4590-83db-de8f3c63f687" providerId="ADAL" clId="{A580AF81-DDD7-431D-8218-29D8B99B23C4}" dt="2021-03-01T14:05:36.967" v="1541" actId="20577"/>
        <pc:sldMasterMkLst>
          <pc:docMk/>
          <pc:sldMasterMk cId="1464827830" sldId="2147483676"/>
        </pc:sldMasterMkLst>
        <pc:spChg chg="mod">
          <ac:chgData name="Nguyen Huy Phuc" userId="39983119-1711-4590-83db-de8f3c63f687" providerId="ADAL" clId="{A580AF81-DDD7-431D-8218-29D8B99B23C4}" dt="2021-03-01T14:05:36.967" v="1541" actId="20577"/>
          <ac:spMkLst>
            <pc:docMk/>
            <pc:sldMasterMk cId="1464827830" sldId="2147483676"/>
            <ac:spMk id="22" creationId="{2BD8507D-7C7A-4E0B-9A31-8D5607372D3F}"/>
          </ac:spMkLst>
        </pc:spChg>
        <pc:spChg chg="mod">
          <ac:chgData name="Nguyen Huy Phuc" userId="39983119-1711-4590-83db-de8f3c63f687" providerId="ADAL" clId="{A580AF81-DDD7-431D-8218-29D8B99B23C4}" dt="2021-02-27T08:51:27.877" v="1" actId="1036"/>
          <ac:spMkLst>
            <pc:docMk/>
            <pc:sldMasterMk cId="1464827830" sldId="2147483676"/>
            <ac:spMk id="23" creationId="{56A299CD-1B5D-46AC-B48B-54162C5837BE}"/>
          </ac:spMkLst>
        </pc:spChg>
      </pc:sldMasterChg>
    </pc:docChg>
  </pc:docChgLst>
  <pc:docChgLst>
    <pc:chgData name="Ema Mandura" userId="e7d66439-8edd-4b81-a871-f118cc9c81ad" providerId="ADAL" clId="{695E6362-CA9E-4E55-94C1-2F2C59C86B63}"/>
    <pc:docChg chg="undo custSel addSld delSld modSld modSection">
      <pc:chgData name="Ema Mandura" userId="e7d66439-8edd-4b81-a871-f118cc9c81ad" providerId="ADAL" clId="{695E6362-CA9E-4E55-94C1-2F2C59C86B63}" dt="2021-03-01T14:00:48.005" v="823" actId="1076"/>
      <pc:docMkLst>
        <pc:docMk/>
      </pc:docMkLst>
      <pc:sldChg chg="addSp modSp mod">
        <pc:chgData name="Ema Mandura" userId="e7d66439-8edd-4b81-a871-f118cc9c81ad" providerId="ADAL" clId="{695E6362-CA9E-4E55-94C1-2F2C59C86B63}" dt="2021-03-01T14:00:48.005" v="823" actId="1076"/>
        <pc:sldMkLst>
          <pc:docMk/>
          <pc:sldMk cId="1375137510" sldId="414"/>
        </pc:sldMkLst>
        <pc:spChg chg="add mod">
          <ac:chgData name="Ema Mandura" userId="e7d66439-8edd-4b81-a871-f118cc9c81ad" providerId="ADAL" clId="{695E6362-CA9E-4E55-94C1-2F2C59C86B63}" dt="2021-03-01T14:00:48.005" v="823" actId="1076"/>
          <ac:spMkLst>
            <pc:docMk/>
            <pc:sldMk cId="1375137510" sldId="414"/>
            <ac:spMk id="10" creationId="{CBE6B910-4864-459C-9EB8-3C77FF7E55CD}"/>
          </ac:spMkLst>
        </pc:spChg>
        <pc:spChg chg="mod">
          <ac:chgData name="Ema Mandura" userId="e7d66439-8edd-4b81-a871-f118cc9c81ad" providerId="ADAL" clId="{695E6362-CA9E-4E55-94C1-2F2C59C86B63}" dt="2021-03-01T14:00:06.230" v="815" actId="20577"/>
          <ac:spMkLst>
            <pc:docMk/>
            <pc:sldMk cId="1375137510" sldId="414"/>
            <ac:spMk id="13" creationId="{9A0A375C-A0C1-49B7-8E3C-BB3F71CFC925}"/>
          </ac:spMkLst>
        </pc:spChg>
      </pc:sldChg>
      <pc:sldChg chg="modSp mod">
        <pc:chgData name="Ema Mandura" userId="e7d66439-8edd-4b81-a871-f118cc9c81ad" providerId="ADAL" clId="{695E6362-CA9E-4E55-94C1-2F2C59C86B63}" dt="2021-03-01T13:43:30.573" v="772" actId="255"/>
        <pc:sldMkLst>
          <pc:docMk/>
          <pc:sldMk cId="1150287506" sldId="418"/>
        </pc:sldMkLst>
        <pc:spChg chg="mod">
          <ac:chgData name="Ema Mandura" userId="e7d66439-8edd-4b81-a871-f118cc9c81ad" providerId="ADAL" clId="{695E6362-CA9E-4E55-94C1-2F2C59C86B63}" dt="2021-03-01T12:56:26.706" v="27" actId="20577"/>
          <ac:spMkLst>
            <pc:docMk/>
            <pc:sldMk cId="1150287506" sldId="418"/>
            <ac:spMk id="2" creationId="{592141AF-53E6-4692-BC5E-00B8A05D9D1B}"/>
          </ac:spMkLst>
        </pc:spChg>
        <pc:spChg chg="mod">
          <ac:chgData name="Ema Mandura" userId="e7d66439-8edd-4b81-a871-f118cc9c81ad" providerId="ADAL" clId="{695E6362-CA9E-4E55-94C1-2F2C59C86B63}" dt="2021-03-01T12:56:11.552" v="24" actId="20577"/>
          <ac:spMkLst>
            <pc:docMk/>
            <pc:sldMk cId="1150287506" sldId="418"/>
            <ac:spMk id="5" creationId="{BF2884ED-221C-4B17-84A5-F9F246995096}"/>
          </ac:spMkLst>
        </pc:spChg>
        <pc:spChg chg="mod">
          <ac:chgData name="Ema Mandura" userId="e7d66439-8edd-4b81-a871-f118cc9c81ad" providerId="ADAL" clId="{695E6362-CA9E-4E55-94C1-2F2C59C86B63}" dt="2021-03-01T13:43:30.573" v="772" actId="255"/>
          <ac:spMkLst>
            <pc:docMk/>
            <pc:sldMk cId="1150287506" sldId="418"/>
            <ac:spMk id="6" creationId="{08466547-1767-46C9-9E25-EB7C36D852BE}"/>
          </ac:spMkLst>
        </pc:spChg>
        <pc:spChg chg="mod">
          <ac:chgData name="Ema Mandura" userId="e7d66439-8edd-4b81-a871-f118cc9c81ad" providerId="ADAL" clId="{695E6362-CA9E-4E55-94C1-2F2C59C86B63}" dt="2021-03-01T13:43:22.884" v="770" actId="255"/>
          <ac:spMkLst>
            <pc:docMk/>
            <pc:sldMk cId="1150287506" sldId="418"/>
            <ac:spMk id="11" creationId="{F27522A6-45AE-4EB0-BB91-A3F4AD49251F}"/>
          </ac:spMkLst>
        </pc:spChg>
        <pc:spChg chg="mod">
          <ac:chgData name="Ema Mandura" userId="e7d66439-8edd-4b81-a871-f118cc9c81ad" providerId="ADAL" clId="{695E6362-CA9E-4E55-94C1-2F2C59C86B63}" dt="2021-03-01T13:43:26.420" v="771" actId="255"/>
          <ac:spMkLst>
            <pc:docMk/>
            <pc:sldMk cId="1150287506" sldId="418"/>
            <ac:spMk id="12" creationId="{587514E4-3029-492F-8348-94FF7FDFC65B}"/>
          </ac:spMkLst>
        </pc:spChg>
      </pc:sldChg>
      <pc:sldChg chg="addSp delSp modSp add del mod">
        <pc:chgData name="Ema Mandura" userId="e7d66439-8edd-4b81-a871-f118cc9c81ad" providerId="ADAL" clId="{695E6362-CA9E-4E55-94C1-2F2C59C86B63}" dt="2021-03-01T13:48:10.435" v="779" actId="255"/>
        <pc:sldMkLst>
          <pc:docMk/>
          <pc:sldMk cId="110023984" sldId="421"/>
        </pc:sldMkLst>
        <pc:spChg chg="add del mod">
          <ac:chgData name="Ema Mandura" userId="e7d66439-8edd-4b81-a871-f118cc9c81ad" providerId="ADAL" clId="{695E6362-CA9E-4E55-94C1-2F2C59C86B63}" dt="2021-03-01T12:58:44.464" v="31"/>
          <ac:spMkLst>
            <pc:docMk/>
            <pc:sldMk cId="110023984" sldId="421"/>
            <ac:spMk id="2" creationId="{75A3E994-D39D-40B3-9B79-3881C2E61353}"/>
          </ac:spMkLst>
        </pc:spChg>
        <pc:spChg chg="add del mod">
          <ac:chgData name="Ema Mandura" userId="e7d66439-8edd-4b81-a871-f118cc9c81ad" providerId="ADAL" clId="{695E6362-CA9E-4E55-94C1-2F2C59C86B63}" dt="2021-03-01T13:00:13.281" v="95"/>
          <ac:spMkLst>
            <pc:docMk/>
            <pc:sldMk cId="110023984" sldId="421"/>
            <ac:spMk id="5" creationId="{6072946B-2346-46D1-B37C-6AA02759B08E}"/>
          </ac:spMkLst>
        </pc:spChg>
        <pc:spChg chg="mod">
          <ac:chgData name="Ema Mandura" userId="e7d66439-8edd-4b81-a871-f118cc9c81ad" providerId="ADAL" clId="{695E6362-CA9E-4E55-94C1-2F2C59C86B63}" dt="2021-03-01T13:15:42.573" v="520" actId="27803"/>
          <ac:spMkLst>
            <pc:docMk/>
            <pc:sldMk cId="110023984" sldId="421"/>
            <ac:spMk id="10" creationId="{E02D31BA-06E7-4381-B7E4-648BAE9BB3CF}"/>
          </ac:spMkLst>
        </pc:spChg>
        <pc:spChg chg="mod">
          <ac:chgData name="Ema Mandura" userId="e7d66439-8edd-4b81-a871-f118cc9c81ad" providerId="ADAL" clId="{695E6362-CA9E-4E55-94C1-2F2C59C86B63}" dt="2021-03-01T13:15:42.573" v="520" actId="27803"/>
          <ac:spMkLst>
            <pc:docMk/>
            <pc:sldMk cId="110023984" sldId="421"/>
            <ac:spMk id="11" creationId="{3D5C9FBF-AB51-4394-9588-32795E26D0A8}"/>
          </ac:spMkLst>
        </pc:spChg>
        <pc:spChg chg="mod">
          <ac:chgData name="Ema Mandura" userId="e7d66439-8edd-4b81-a871-f118cc9c81ad" providerId="ADAL" clId="{695E6362-CA9E-4E55-94C1-2F2C59C86B63}" dt="2021-03-01T13:15:42.573" v="520" actId="27803"/>
          <ac:spMkLst>
            <pc:docMk/>
            <pc:sldMk cId="110023984" sldId="421"/>
            <ac:spMk id="12" creationId="{B736063C-AD33-46E6-B5CD-61D3CDADF6B6}"/>
          </ac:spMkLst>
        </pc:spChg>
        <pc:spChg chg="mod">
          <ac:chgData name="Ema Mandura" userId="e7d66439-8edd-4b81-a871-f118cc9c81ad" providerId="ADAL" clId="{695E6362-CA9E-4E55-94C1-2F2C59C86B63}" dt="2021-03-01T13:15:42.573" v="520" actId="27803"/>
          <ac:spMkLst>
            <pc:docMk/>
            <pc:sldMk cId="110023984" sldId="421"/>
            <ac:spMk id="13" creationId="{CCD0E909-E79E-485E-AA70-71E423C27191}"/>
          </ac:spMkLst>
        </pc:spChg>
        <pc:spChg chg="add del">
          <ac:chgData name="Ema Mandura" userId="e7d66439-8edd-4b81-a871-f118cc9c81ad" providerId="ADAL" clId="{695E6362-CA9E-4E55-94C1-2F2C59C86B63}" dt="2021-03-01T13:17:29.013" v="526" actId="478"/>
          <ac:spMkLst>
            <pc:docMk/>
            <pc:sldMk cId="110023984" sldId="421"/>
            <ac:spMk id="14" creationId="{B4E0A61C-3FE1-4BBD-8D8B-69E9B8B2A240}"/>
          </ac:spMkLst>
        </pc:spChg>
        <pc:spChg chg="add del mod">
          <ac:chgData name="Ema Mandura" userId="e7d66439-8edd-4b81-a871-f118cc9c81ad" providerId="ADAL" clId="{695E6362-CA9E-4E55-94C1-2F2C59C86B63}" dt="2021-03-01T13:20:47.696" v="531"/>
          <ac:spMkLst>
            <pc:docMk/>
            <pc:sldMk cId="110023984" sldId="421"/>
            <ac:spMk id="16" creationId="{54D534E9-1A0C-41E7-8FCE-C4D3186CBBBE}"/>
          </ac:spMkLst>
        </pc:spChg>
        <pc:spChg chg="add mod">
          <ac:chgData name="Ema Mandura" userId="e7d66439-8edd-4b81-a871-f118cc9c81ad" providerId="ADAL" clId="{695E6362-CA9E-4E55-94C1-2F2C59C86B63}" dt="2021-03-01T13:43:40.376" v="773" actId="255"/>
          <ac:spMkLst>
            <pc:docMk/>
            <pc:sldMk cId="110023984" sldId="421"/>
            <ac:spMk id="17" creationId="{37978451-7755-4F16-9875-D71BC4A3A111}"/>
          </ac:spMkLst>
        </pc:spChg>
        <pc:spChg chg="add del mod">
          <ac:chgData name="Ema Mandura" userId="e7d66439-8edd-4b81-a871-f118cc9c81ad" providerId="ADAL" clId="{695E6362-CA9E-4E55-94C1-2F2C59C86B63}" dt="2021-03-01T13:22:50.799" v="573"/>
          <ac:spMkLst>
            <pc:docMk/>
            <pc:sldMk cId="110023984" sldId="421"/>
            <ac:spMk id="18" creationId="{8A592278-202C-4F29-9E19-A906F85E4B29}"/>
          </ac:spMkLst>
        </pc:spChg>
        <pc:spChg chg="add mod">
          <ac:chgData name="Ema Mandura" userId="e7d66439-8edd-4b81-a871-f118cc9c81ad" providerId="ADAL" clId="{695E6362-CA9E-4E55-94C1-2F2C59C86B63}" dt="2021-03-01T13:43:44.641" v="774" actId="255"/>
          <ac:spMkLst>
            <pc:docMk/>
            <pc:sldMk cId="110023984" sldId="421"/>
            <ac:spMk id="19" creationId="{ADF2AF72-4C5F-4871-9A91-841A2BDEDC15}"/>
          </ac:spMkLst>
        </pc:spChg>
        <pc:spChg chg="del mod">
          <ac:chgData name="Ema Mandura" userId="e7d66439-8edd-4b81-a871-f118cc9c81ad" providerId="ADAL" clId="{695E6362-CA9E-4E55-94C1-2F2C59C86B63}" dt="2021-03-01T13:26:05.990" v="587" actId="478"/>
          <ac:spMkLst>
            <pc:docMk/>
            <pc:sldMk cId="110023984" sldId="421"/>
            <ac:spMk id="22" creationId="{C7019D43-7E66-4D6C-8DA6-DAB222FF44B1}"/>
          </ac:spMkLst>
        </pc:spChg>
        <pc:spChg chg="add del mod">
          <ac:chgData name="Ema Mandura" userId="e7d66439-8edd-4b81-a871-f118cc9c81ad" providerId="ADAL" clId="{695E6362-CA9E-4E55-94C1-2F2C59C86B63}" dt="2021-03-01T13:39:59.083" v="668"/>
          <ac:spMkLst>
            <pc:docMk/>
            <pc:sldMk cId="110023984" sldId="421"/>
            <ac:spMk id="24" creationId="{A29EAE24-4D38-4E00-9042-10BFC0EF84D4}"/>
          </ac:spMkLst>
        </pc:spChg>
        <pc:spChg chg="add mod">
          <ac:chgData name="Ema Mandura" userId="e7d66439-8edd-4b81-a871-f118cc9c81ad" providerId="ADAL" clId="{695E6362-CA9E-4E55-94C1-2F2C59C86B63}" dt="2021-03-01T13:48:10.435" v="779" actId="255"/>
          <ac:spMkLst>
            <pc:docMk/>
            <pc:sldMk cId="110023984" sldId="421"/>
            <ac:spMk id="25" creationId="{3FA6DEC5-5303-443F-BAF5-0694128FF5FC}"/>
          </ac:spMkLst>
        </pc:spChg>
        <pc:spChg chg="add mod">
          <ac:chgData name="Ema Mandura" userId="e7d66439-8edd-4b81-a871-f118cc9c81ad" providerId="ADAL" clId="{695E6362-CA9E-4E55-94C1-2F2C59C86B63}" dt="2021-03-01T13:13:51.248" v="508" actId="5793"/>
          <ac:spMkLst>
            <pc:docMk/>
            <pc:sldMk cId="110023984" sldId="421"/>
            <ac:spMk id="37" creationId="{5624E33E-08BE-4015-B37E-450927565153}"/>
          </ac:spMkLst>
        </pc:spChg>
        <pc:spChg chg="add mod">
          <ac:chgData name="Ema Mandura" userId="e7d66439-8edd-4b81-a871-f118cc9c81ad" providerId="ADAL" clId="{695E6362-CA9E-4E55-94C1-2F2C59C86B63}" dt="2021-03-01T13:11:05.936" v="487" actId="20577"/>
          <ac:spMkLst>
            <pc:docMk/>
            <pc:sldMk cId="110023984" sldId="421"/>
            <ac:spMk id="38" creationId="{107FFCC2-F6F6-4076-AF21-80FDF767833D}"/>
          </ac:spMkLst>
        </pc:spChg>
        <pc:spChg chg="add del mod">
          <ac:chgData name="Ema Mandura" userId="e7d66439-8edd-4b81-a871-f118cc9c81ad" providerId="ADAL" clId="{695E6362-CA9E-4E55-94C1-2F2C59C86B63}" dt="2021-03-01T13:17:26.562" v="525" actId="478"/>
          <ac:spMkLst>
            <pc:docMk/>
            <pc:sldMk cId="110023984" sldId="421"/>
            <ac:spMk id="47" creationId="{AA52CCD8-52DF-426D-8156-A24BA27BB80B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2" creationId="{6D66ECF2-11D0-4B5A-876C-2518139C8555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3" creationId="{314075CF-92DB-4038-9ECA-92DA90271F7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4" creationId="{CEC8E8B0-68C6-4373-A559-7A875109C2B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5" creationId="{3A4E6913-8B43-47E2-8A10-091DD476ECAC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6" creationId="{BCF4F149-CA8F-472A-9942-35CB32B39FA1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7" creationId="{25F6BA0A-7299-473D-9C57-48360D95D8E8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8" creationId="{BA328444-6494-49AF-A1F1-02707EF9440A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59" creationId="{AFE8B69F-8040-4713-BB2F-2E4CCEDB17F4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0" creationId="{F8AA007F-4A92-446B-B151-E66AAACE9C96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1" creationId="{6AEC54E1-B249-4F12-9C09-8862C1E9D4B7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2" creationId="{D6385D5D-B183-4C72-875D-907D743A73B9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3" creationId="{12B2FF9F-968E-4FB2-95A8-7EE65EF4C587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4" creationId="{6718D200-B72F-487F-A615-992CFE7F810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5" creationId="{6CDDFCBE-69D9-4E80-BAA8-7EC9393BD527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6" creationId="{CEC1728F-4317-46E9-8A99-2A05159D3D65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7" creationId="{BB254A4F-C335-4609-A058-863456340A7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8" creationId="{C53C4F9C-C538-4384-A069-8216E9E9D33A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69" creationId="{930ECEA4-17C7-4B4A-BF2D-0D9F8B8CF226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0" creationId="{198E7486-1C04-4B6C-9184-381A24812DE8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1" creationId="{42E0E851-1CF5-4366-939F-3A985158CF1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2" creationId="{0A8E4D05-D92E-4B69-85DC-5DFFA31FC5B4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3" creationId="{D6EF026F-A480-4981-83C4-DCD46EABC3AA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4" creationId="{26AC8EC0-AD2F-478C-9DC5-1BFC16EC424F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5" creationId="{9F381BA1-773A-4114-9FF9-44304F7E87F8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6" creationId="{42DCF683-9BB7-4A94-97F8-AB0E568899F3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7" creationId="{A32FC83F-7924-4ECF-AD44-7058037836BD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8" creationId="{41D9B81B-6DDB-4E97-ADCF-CC8086825999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79" creationId="{D85CD96B-F692-49A6-85E9-E384C25ABB27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0" creationId="{B61CF6ED-2035-4354-9738-FCEC058FDC91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1" creationId="{BB33D157-1CEC-4988-9BF1-022C005DB690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2" creationId="{F199415F-70E2-4E9D-8CA0-63D28552D1C4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3" creationId="{8E5ABC9A-DB78-4600-9576-12788356EDC1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4" creationId="{25542EB0-B784-40CD-A244-1D4E9510C95E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5" creationId="{C879E336-3D92-436A-BF77-4F3D3A744DBA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8" creationId="{085D20EC-C342-42CF-959A-2861EE2FC6AC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89" creationId="{358008BE-CD4F-4987-801A-34508B06C0C1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0" creationId="{9DB1A865-8067-4D24-BC3A-3371BE01D7FE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1" creationId="{3CFF1B25-33CB-4F04-A783-58E3CA147188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2" creationId="{369F2CB0-38A9-4A20-A050-7886E8114226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3" creationId="{7FE2EF85-0796-4955-BA64-A4E04D40A7DC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4" creationId="{281AF690-0711-413F-B5E6-28B253AEAF0E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5" creationId="{D91843C1-7021-4A56-8F0C-AB3D0D85E715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6" creationId="{E997E5EA-B3BC-4F6A-9990-53F8F6C6024C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97" creationId="{A2D32D62-C33A-44C7-BE20-BD04804EA2C9}"/>
          </ac:spMkLst>
        </pc:spChg>
        <pc:spChg chg="mod">
          <ac:chgData name="Ema Mandura" userId="e7d66439-8edd-4b81-a871-f118cc9c81ad" providerId="ADAL" clId="{695E6362-CA9E-4E55-94C1-2F2C59C86B63}" dt="2021-03-01T13:21:30.500" v="549"/>
          <ac:spMkLst>
            <pc:docMk/>
            <pc:sldMk cId="110023984" sldId="421"/>
            <ac:spMk id="106" creationId="{8FCF6578-8E65-49E1-87F9-F0728CC6C98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2" creationId="{17356211-1C53-40A2-91EE-4B26128A2288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3" creationId="{6FAFB118-72AC-4312-9B02-619C9331E980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4" creationId="{A6C6B7D2-4603-45D9-A8A8-31FCE4ACF036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5" creationId="{AA37DACC-89D9-438C-849F-289CC172F00C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6" creationId="{4659F981-8899-4F12-9BF9-52CFAA04C51E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7" creationId="{36926E8E-FF5A-4334-B5B3-BDC8069EC943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8" creationId="{66731343-EDE2-4672-9454-F694D44E348B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29" creationId="{498B0A80-6C1C-439A-9415-2AAF0D2F6DA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0" creationId="{AE2A579E-2211-4764-9F82-6D0D7B6836FE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1" creationId="{6F945E86-8BE5-4994-9E8D-FB345C1C27EE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2" creationId="{E14FA0D6-ECF6-44BF-99AA-723631B6831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3" creationId="{11230B55-DF95-414F-826A-A903D522424B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4" creationId="{727881FC-F56D-4CC2-9313-1E001F7EA7EA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5" creationId="{31AF9BAF-E051-4A87-961C-EE1C0C29BB0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6" creationId="{F3BF017D-F4EF-496B-8586-CC6312CB7A8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7" creationId="{AF18B631-C6A0-469A-B524-F350BA18D2AC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8" creationId="{7B47E495-3CD5-4AF5-BF12-B63C50DBC7F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39" creationId="{10FFC1F7-BFDE-48E5-849B-185904265550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0" creationId="{EA924B4C-DB08-4D3E-95CB-4FF788A1FE4F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1" creationId="{1F9FDBFD-7231-41A4-BCEA-FE1E8CBDD2EC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2" creationId="{33E25A8D-A259-4F89-9704-3EE3F9C22A53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3" creationId="{E5092274-D434-40F8-9EE6-01FFF7DFFABF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4" creationId="{405D9E5F-0AB3-4F59-8BA2-62759B464089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5" creationId="{A3368AB1-C7B0-494B-A967-BC9A7BEE1230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6" creationId="{23576F5E-18CB-43FB-ABCA-E32A9814A44C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7" creationId="{228D00A3-BE1B-43C7-BDD2-2679112C46CA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8" creationId="{6D7ECFBE-5BFC-431F-BAF3-754CB2AA43A5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49" creationId="{B6DF5F4F-F6AE-46FA-A53D-3FCD21EA117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0" creationId="{31E537EF-F1DF-40B6-B98E-073DAD636E3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1" creationId="{EC972D81-C2D8-4C8B-92D0-4923D1211D32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2" creationId="{8167676D-7112-4C53-8151-556F8BE3911B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4" creationId="{15097AF2-0094-4941-B560-10111949C982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5" creationId="{670DB0F5-5F03-4752-B4D0-073B8135353A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6" creationId="{592F87BF-C9DD-48D2-A3D0-B6D9D4FAF350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7" creationId="{688F9550-A81C-4466-876B-DC948313403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8" creationId="{BD486BAD-DA13-4C3E-8C48-AB2EFB46B615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59" creationId="{B7CDCD28-F24A-4FDD-975B-4933BB9F6211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0" creationId="{D0A268DB-7732-4939-A50E-840DFC0B7E4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1" creationId="{6EA2A2BC-2D14-494E-8E75-97E9B47D1CFA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3" creationId="{284D8700-AA9A-4F6A-A309-C2B7A239494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4" creationId="{370FB773-BD94-4A32-9891-53A166A3F1E7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5" creationId="{91E68B66-EA9F-457F-9BA8-5FF3A99D1BF6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6" creationId="{B16EDDBC-05CF-4F86-9052-933BE9784034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7" creationId="{75EE8E6B-25D8-457F-AAC1-E385E413B64C}"/>
          </ac:spMkLst>
        </pc:spChg>
        <pc:spChg chg="mod">
          <ac:chgData name="Ema Mandura" userId="e7d66439-8edd-4b81-a871-f118cc9c81ad" providerId="ADAL" clId="{695E6362-CA9E-4E55-94C1-2F2C59C86B63}" dt="2021-03-01T13:40:01.657" v="669"/>
          <ac:spMkLst>
            <pc:docMk/>
            <pc:sldMk cId="110023984" sldId="421"/>
            <ac:spMk id="168" creationId="{30102FE1-0844-446E-953A-813365266CF8}"/>
          </ac:spMkLst>
        </pc:spChg>
        <pc:grpChg chg="del mod">
          <ac:chgData name="Ema Mandura" userId="e7d66439-8edd-4b81-a871-f118cc9c81ad" providerId="ADAL" clId="{695E6362-CA9E-4E55-94C1-2F2C59C86B63}" dt="2021-03-01T13:16:46.970" v="522" actId="478"/>
          <ac:grpSpMkLst>
            <pc:docMk/>
            <pc:sldMk cId="110023984" sldId="421"/>
            <ac:grpSpMk id="9" creationId="{F3AA5B7D-AFBB-44AF-96BB-F73CFD10A42C}"/>
          </ac:grpSpMkLst>
        </pc:grpChg>
        <pc:grpChg chg="add mod">
          <ac:chgData name="Ema Mandura" userId="e7d66439-8edd-4b81-a871-f118cc9c81ad" providerId="ADAL" clId="{695E6362-CA9E-4E55-94C1-2F2C59C86B63}" dt="2021-03-01T13:42:39.436" v="765" actId="1076"/>
          <ac:grpSpMkLst>
            <pc:docMk/>
            <pc:sldMk cId="110023984" sldId="421"/>
            <ac:grpSpMk id="51" creationId="{2933BE97-1B6D-4AE6-8F5E-BD71F4CFC138}"/>
          </ac:grpSpMkLst>
        </pc:grpChg>
        <pc:grpChg chg="add mod">
          <ac:chgData name="Ema Mandura" userId="e7d66439-8edd-4b81-a871-f118cc9c81ad" providerId="ADAL" clId="{695E6362-CA9E-4E55-94C1-2F2C59C86B63}" dt="2021-03-01T13:40:04.801" v="670" actId="1076"/>
          <ac:grpSpMkLst>
            <pc:docMk/>
            <pc:sldMk cId="110023984" sldId="421"/>
            <ac:grpSpMk id="121" creationId="{529736D4-9FA5-47DD-87F2-43BAFE8924EA}"/>
          </ac:grpSpMkLst>
        </pc:grpChg>
        <pc:picChg chg="add del mod">
          <ac:chgData name="Ema Mandura" userId="e7d66439-8edd-4b81-a871-f118cc9c81ad" providerId="ADAL" clId="{695E6362-CA9E-4E55-94C1-2F2C59C86B63}" dt="2021-03-01T13:15:42.573" v="520" actId="27803"/>
          <ac:picMkLst>
            <pc:docMk/>
            <pc:sldMk cId="110023984" sldId="421"/>
            <ac:picMk id="8" creationId="{F3AA5B7D-AFBB-44AF-96BB-F73CFD10A42C}"/>
          </ac:picMkLst>
        </pc:picChg>
        <pc:picChg chg="add mod">
          <ac:chgData name="Ema Mandura" userId="e7d66439-8edd-4b81-a871-f118cc9c81ad" providerId="ADAL" clId="{695E6362-CA9E-4E55-94C1-2F2C59C86B63}" dt="2021-03-01T13:19:09.114" v="528" actId="1076"/>
          <ac:picMkLst>
            <pc:docMk/>
            <pc:sldMk cId="110023984" sldId="421"/>
            <ac:picMk id="15" creationId="{13881B16-55BB-444C-A84B-576E9949F617}"/>
          </ac:picMkLst>
        </pc:picChg>
        <pc:picChg chg="add del mod">
          <ac:chgData name="Ema Mandura" userId="e7d66439-8edd-4b81-a871-f118cc9c81ad" providerId="ADAL" clId="{695E6362-CA9E-4E55-94C1-2F2C59C86B63}" dt="2021-03-01T13:25:11.005" v="585" actId="27803"/>
          <ac:picMkLst>
            <pc:docMk/>
            <pc:sldMk cId="110023984" sldId="421"/>
            <ac:picMk id="21" creationId="{C7019D43-7E66-4D6C-8DA6-DAB222FF44B1}"/>
          </ac:picMkLst>
        </pc:picChg>
        <pc:picChg chg="add del mod">
          <ac:chgData name="Ema Mandura" userId="e7d66439-8edd-4b81-a871-f118cc9c81ad" providerId="ADAL" clId="{695E6362-CA9E-4E55-94C1-2F2C59C86B63}" dt="2021-03-01T13:39:59.081" v="666" actId="478"/>
          <ac:picMkLst>
            <pc:docMk/>
            <pc:sldMk cId="110023984" sldId="421"/>
            <ac:picMk id="23" creationId="{CF9D758A-2936-4630-90CC-EF2E66FB329F}"/>
          </ac:picMkLst>
        </pc:picChg>
        <pc:picChg chg="add mod">
          <ac:chgData name="Ema Mandura" userId="e7d66439-8edd-4b81-a871-f118cc9c81ad" providerId="ADAL" clId="{695E6362-CA9E-4E55-94C1-2F2C59C86B63}" dt="2021-03-01T13:42:01.853" v="760" actId="1076"/>
          <ac:picMkLst>
            <pc:docMk/>
            <pc:sldMk cId="110023984" sldId="421"/>
            <ac:picMk id="27" creationId="{1EAF305B-9F92-4BB3-90FA-4C61BC224AE2}"/>
          </ac:picMkLst>
        </pc:picChg>
        <pc:picChg chg="add del mod">
          <ac:chgData name="Ema Mandura" userId="e7d66439-8edd-4b81-a871-f118cc9c81ad" providerId="ADAL" clId="{695E6362-CA9E-4E55-94C1-2F2C59C86B63}" dt="2021-03-01T12:51:20.601" v="7"/>
          <ac:picMkLst>
            <pc:docMk/>
            <pc:sldMk cId="110023984" sldId="421"/>
            <ac:picMk id="31" creationId="{43C7AF91-4020-4A2C-BBE9-E4BE50FF63FF}"/>
          </ac:picMkLst>
        </pc:picChg>
        <pc:picChg chg="add del mod">
          <ac:chgData name="Ema Mandura" userId="e7d66439-8edd-4b81-a871-f118cc9c81ad" providerId="ADAL" clId="{695E6362-CA9E-4E55-94C1-2F2C59C86B63}" dt="2021-03-01T12:51:20.203" v="6"/>
          <ac:picMkLst>
            <pc:docMk/>
            <pc:sldMk cId="110023984" sldId="421"/>
            <ac:picMk id="32" creationId="{5225816C-B5B7-4C74-92A9-3AC26ADC2AD1}"/>
          </ac:picMkLst>
        </pc:picChg>
        <pc:picChg chg="add del mod">
          <ac:chgData name="Ema Mandura" userId="e7d66439-8edd-4b81-a871-f118cc9c81ad" providerId="ADAL" clId="{695E6362-CA9E-4E55-94C1-2F2C59C86B63}" dt="2021-03-01T12:51:19.777" v="5"/>
          <ac:picMkLst>
            <pc:docMk/>
            <pc:sldMk cId="110023984" sldId="421"/>
            <ac:picMk id="33" creationId="{52FCEB6D-1486-4DEC-87AE-C0CAECFA1F09}"/>
          </ac:picMkLst>
        </pc:picChg>
        <pc:picChg chg="add del mod">
          <ac:chgData name="Ema Mandura" userId="e7d66439-8edd-4b81-a871-f118cc9c81ad" providerId="ADAL" clId="{695E6362-CA9E-4E55-94C1-2F2C59C86B63}" dt="2021-03-01T13:28:40.636" v="607" actId="478"/>
          <ac:picMkLst>
            <pc:docMk/>
            <pc:sldMk cId="110023984" sldId="421"/>
            <ac:picMk id="34" creationId="{FB1910A1-4D37-4E1C-8CF2-7E9BE0668153}"/>
          </ac:picMkLst>
        </pc:picChg>
        <pc:picChg chg="del mod">
          <ac:chgData name="Ema Mandura" userId="e7d66439-8edd-4b81-a871-f118cc9c81ad" providerId="ADAL" clId="{695E6362-CA9E-4E55-94C1-2F2C59C86B63}" dt="2021-03-01T13:28:37.083" v="605" actId="478"/>
          <ac:picMkLst>
            <pc:docMk/>
            <pc:sldMk cId="110023984" sldId="421"/>
            <ac:picMk id="107" creationId="{364735DE-E33D-41C8-B355-C3C4C47C84CA}"/>
          </ac:picMkLst>
        </pc:picChg>
        <pc:picChg chg="del mod">
          <ac:chgData name="Ema Mandura" userId="e7d66439-8edd-4b81-a871-f118cc9c81ad" providerId="ADAL" clId="{695E6362-CA9E-4E55-94C1-2F2C59C86B63}" dt="2021-03-01T13:28:39.033" v="606" actId="478"/>
          <ac:picMkLst>
            <pc:docMk/>
            <pc:sldMk cId="110023984" sldId="421"/>
            <ac:picMk id="108" creationId="{39C20CA9-FFD5-4633-BA48-0EB8C8BA023D}"/>
          </ac:picMkLst>
        </pc:picChg>
        <pc:picChg chg="del mod">
          <ac:chgData name="Ema Mandura" userId="e7d66439-8edd-4b81-a871-f118cc9c81ad" providerId="ADAL" clId="{695E6362-CA9E-4E55-94C1-2F2C59C86B63}" dt="2021-03-01T13:28:46.134" v="610" actId="478"/>
          <ac:picMkLst>
            <pc:docMk/>
            <pc:sldMk cId="110023984" sldId="421"/>
            <ac:picMk id="109" creationId="{1F526226-6958-481C-8462-191300092137}"/>
          </ac:picMkLst>
        </pc:picChg>
        <pc:picChg chg="add mod">
          <ac:chgData name="Ema Mandura" userId="e7d66439-8edd-4b81-a871-f118cc9c81ad" providerId="ADAL" clId="{695E6362-CA9E-4E55-94C1-2F2C59C86B63}" dt="2021-03-01T13:29:44.064" v="615" actId="1076"/>
          <ac:picMkLst>
            <pc:docMk/>
            <pc:sldMk cId="110023984" sldId="421"/>
            <ac:picMk id="110" creationId="{3DC418A5-975E-4685-B1B1-23661B2711D8}"/>
          </ac:picMkLst>
        </pc:picChg>
        <pc:picChg chg="add mod">
          <ac:chgData name="Ema Mandura" userId="e7d66439-8edd-4b81-a871-f118cc9c81ad" providerId="ADAL" clId="{695E6362-CA9E-4E55-94C1-2F2C59C86B63}" dt="2021-03-01T13:32:08.961" v="627" actId="1076"/>
          <ac:picMkLst>
            <pc:docMk/>
            <pc:sldMk cId="110023984" sldId="421"/>
            <ac:picMk id="111" creationId="{A4385361-EA7B-4928-9A02-C5C351696D6C}"/>
          </ac:picMkLst>
        </pc:picChg>
        <pc:picChg chg="add del mod">
          <ac:chgData name="Ema Mandura" userId="e7d66439-8edd-4b81-a871-f118cc9c81ad" providerId="ADAL" clId="{695E6362-CA9E-4E55-94C1-2F2C59C86B63}" dt="2021-03-01T13:36:20.264" v="647" actId="478"/>
          <ac:picMkLst>
            <pc:docMk/>
            <pc:sldMk cId="110023984" sldId="421"/>
            <ac:picMk id="112" creationId="{99648870-738B-417A-8FCB-84CA4C049228}"/>
          </ac:picMkLst>
        </pc:picChg>
        <pc:picChg chg="add mod">
          <ac:chgData name="Ema Mandura" userId="e7d66439-8edd-4b81-a871-f118cc9c81ad" providerId="ADAL" clId="{695E6362-CA9E-4E55-94C1-2F2C59C86B63}" dt="2021-03-01T13:33:04.897" v="632" actId="1076"/>
          <ac:picMkLst>
            <pc:docMk/>
            <pc:sldMk cId="110023984" sldId="421"/>
            <ac:picMk id="113" creationId="{996283DC-A34A-46E6-851B-C5A7D9CFB15F}"/>
          </ac:picMkLst>
        </pc:picChg>
        <pc:picChg chg="add del mod">
          <ac:chgData name="Ema Mandura" userId="e7d66439-8edd-4b81-a871-f118cc9c81ad" providerId="ADAL" clId="{695E6362-CA9E-4E55-94C1-2F2C59C86B63}" dt="2021-03-01T13:36:22.707" v="648" actId="478"/>
          <ac:picMkLst>
            <pc:docMk/>
            <pc:sldMk cId="110023984" sldId="421"/>
            <ac:picMk id="114" creationId="{E880FBC7-B1E6-4B7C-967E-8EB0E2B36F88}"/>
          </ac:picMkLst>
        </pc:picChg>
        <pc:picChg chg="add mod">
          <ac:chgData name="Ema Mandura" userId="e7d66439-8edd-4b81-a871-f118cc9c81ad" providerId="ADAL" clId="{695E6362-CA9E-4E55-94C1-2F2C59C86B63}" dt="2021-03-01T13:34:30.669" v="636" actId="1076"/>
          <ac:picMkLst>
            <pc:docMk/>
            <pc:sldMk cId="110023984" sldId="421"/>
            <ac:picMk id="115" creationId="{607FB089-799D-419A-9770-C268ED275C12}"/>
          </ac:picMkLst>
        </pc:picChg>
        <pc:picChg chg="add mod">
          <ac:chgData name="Ema Mandura" userId="e7d66439-8edd-4b81-a871-f118cc9c81ad" providerId="ADAL" clId="{695E6362-CA9E-4E55-94C1-2F2C59C86B63}" dt="2021-03-01T13:34:41.605" v="638" actId="1076"/>
          <ac:picMkLst>
            <pc:docMk/>
            <pc:sldMk cId="110023984" sldId="421"/>
            <ac:picMk id="116" creationId="{E1012BF4-3179-4211-A6AC-E0B12D535E07}"/>
          </ac:picMkLst>
        </pc:picChg>
        <pc:picChg chg="add mod">
          <ac:chgData name="Ema Mandura" userId="e7d66439-8edd-4b81-a871-f118cc9c81ad" providerId="ADAL" clId="{695E6362-CA9E-4E55-94C1-2F2C59C86B63}" dt="2021-03-01T13:34:55.666" v="640" actId="1076"/>
          <ac:picMkLst>
            <pc:docMk/>
            <pc:sldMk cId="110023984" sldId="421"/>
            <ac:picMk id="117" creationId="{EB3CE762-244F-4852-AC4D-D9B697324B31}"/>
          </ac:picMkLst>
        </pc:picChg>
        <pc:picChg chg="mod">
          <ac:chgData name="Ema Mandura" userId="e7d66439-8edd-4b81-a871-f118cc9c81ad" providerId="ADAL" clId="{695E6362-CA9E-4E55-94C1-2F2C59C86B63}" dt="2021-03-01T13:30:14.839" v="617" actId="1076"/>
          <ac:picMkLst>
            <pc:docMk/>
            <pc:sldMk cId="110023984" sldId="421"/>
            <ac:picMk id="118" creationId="{B368716C-D155-4336-B7C9-2E9F3DBD287C}"/>
          </ac:picMkLst>
        </pc:picChg>
        <pc:picChg chg="del mod">
          <ac:chgData name="Ema Mandura" userId="e7d66439-8edd-4b81-a871-f118cc9c81ad" providerId="ADAL" clId="{695E6362-CA9E-4E55-94C1-2F2C59C86B63}" dt="2021-03-01T13:28:42.255" v="608" actId="478"/>
          <ac:picMkLst>
            <pc:docMk/>
            <pc:sldMk cId="110023984" sldId="421"/>
            <ac:picMk id="119" creationId="{B3D57D6E-E4E4-4DB6-BD0C-A40C6441FF37}"/>
          </ac:picMkLst>
        </pc:picChg>
        <pc:picChg chg="add mod">
          <ac:chgData name="Ema Mandura" userId="e7d66439-8edd-4b81-a871-f118cc9c81ad" providerId="ADAL" clId="{695E6362-CA9E-4E55-94C1-2F2C59C86B63}" dt="2021-03-01T13:35:13.379" v="644" actId="1076"/>
          <ac:picMkLst>
            <pc:docMk/>
            <pc:sldMk cId="110023984" sldId="421"/>
            <ac:picMk id="120" creationId="{3E092E07-0020-4611-942F-49F6F68BFFD5}"/>
          </ac:picMkLst>
        </pc:picChg>
        <pc:picChg chg="del mod">
          <ac:chgData name="Ema Mandura" userId="e7d66439-8edd-4b81-a871-f118cc9c81ad" providerId="ADAL" clId="{695E6362-CA9E-4E55-94C1-2F2C59C86B63}" dt="2021-03-01T13:28:44.763" v="609" actId="478"/>
          <ac:picMkLst>
            <pc:docMk/>
            <pc:sldMk cId="110023984" sldId="421"/>
            <ac:picMk id="153" creationId="{2F864DFA-9484-49DC-A6C7-F466BFD56FE2}"/>
          </ac:picMkLst>
        </pc:picChg>
        <pc:picChg chg="del mod">
          <ac:chgData name="Ema Mandura" userId="e7d66439-8edd-4b81-a871-f118cc9c81ad" providerId="ADAL" clId="{695E6362-CA9E-4E55-94C1-2F2C59C86B63}" dt="2021-03-01T13:35:39.151" v="646" actId="478"/>
          <ac:picMkLst>
            <pc:docMk/>
            <pc:sldMk cId="110023984" sldId="421"/>
            <ac:picMk id="162" creationId="{172992E9-45F8-4DB0-BF29-7E4A321668BE}"/>
          </ac:picMkLst>
        </pc:picChg>
        <pc:picChg chg="mod">
          <ac:chgData name="Ema Mandura" userId="e7d66439-8edd-4b81-a871-f118cc9c81ad" providerId="ADAL" clId="{695E6362-CA9E-4E55-94C1-2F2C59C86B63}" dt="2021-03-01T13:31:37.343" v="625" actId="1076"/>
          <ac:picMkLst>
            <pc:docMk/>
            <pc:sldMk cId="110023984" sldId="421"/>
            <ac:picMk id="173" creationId="{99CB0C0A-B076-4134-A9EB-F52BF37679F1}"/>
          </ac:picMkLst>
        </pc:picChg>
        <pc:picChg chg="del mod">
          <ac:chgData name="Ema Mandura" userId="e7d66439-8edd-4b81-a871-f118cc9c81ad" providerId="ADAL" clId="{695E6362-CA9E-4E55-94C1-2F2C59C86B63}" dt="2021-03-01T13:35:37.284" v="645" actId="478"/>
          <ac:picMkLst>
            <pc:docMk/>
            <pc:sldMk cId="110023984" sldId="421"/>
            <ac:picMk id="184" creationId="{A89D7391-BA01-4540-BC8B-C96D108D88FC}"/>
          </ac:picMkLst>
        </pc:picChg>
        <pc:picChg chg="mod">
          <ac:chgData name="Ema Mandura" userId="e7d66439-8edd-4b81-a871-f118cc9c81ad" providerId="ADAL" clId="{695E6362-CA9E-4E55-94C1-2F2C59C86B63}" dt="2021-03-01T13:30:40.009" v="621" actId="1076"/>
          <ac:picMkLst>
            <pc:docMk/>
            <pc:sldMk cId="110023984" sldId="421"/>
            <ac:picMk id="195" creationId="{6B25DB5C-C651-425C-ACFD-C5A383620AA2}"/>
          </ac:picMkLst>
        </pc:picChg>
      </pc:sldChg>
      <pc:sldChg chg="modSp mod">
        <pc:chgData name="Ema Mandura" userId="e7d66439-8edd-4b81-a871-f118cc9c81ad" providerId="ADAL" clId="{695E6362-CA9E-4E55-94C1-2F2C59C86B63}" dt="2021-03-01T13:43:14.133" v="769" actId="255"/>
        <pc:sldMkLst>
          <pc:docMk/>
          <pc:sldMk cId="685570189" sldId="422"/>
        </pc:sldMkLst>
        <pc:spChg chg="mod">
          <ac:chgData name="Ema Mandura" userId="e7d66439-8edd-4b81-a871-f118cc9c81ad" providerId="ADAL" clId="{695E6362-CA9E-4E55-94C1-2F2C59C86B63}" dt="2021-03-01T13:43:04.583" v="767" actId="255"/>
          <ac:spMkLst>
            <pc:docMk/>
            <pc:sldMk cId="685570189" sldId="422"/>
            <ac:spMk id="242" creationId="{2E6676BC-3743-43BF-AB93-0610EB52254E}"/>
          </ac:spMkLst>
        </pc:spChg>
        <pc:spChg chg="mod">
          <ac:chgData name="Ema Mandura" userId="e7d66439-8edd-4b81-a871-f118cc9c81ad" providerId="ADAL" clId="{695E6362-CA9E-4E55-94C1-2F2C59C86B63}" dt="2021-03-01T13:43:08.862" v="768" actId="255"/>
          <ac:spMkLst>
            <pc:docMk/>
            <pc:sldMk cId="685570189" sldId="422"/>
            <ac:spMk id="249" creationId="{4D2A41B5-B086-4248-A745-1CA39A56E00D}"/>
          </ac:spMkLst>
        </pc:spChg>
        <pc:spChg chg="mod">
          <ac:chgData name="Ema Mandura" userId="e7d66439-8edd-4b81-a871-f118cc9c81ad" providerId="ADAL" clId="{695E6362-CA9E-4E55-94C1-2F2C59C86B63}" dt="2021-03-01T13:43:14.133" v="769" actId="255"/>
          <ac:spMkLst>
            <pc:docMk/>
            <pc:sldMk cId="685570189" sldId="422"/>
            <ac:spMk id="292" creationId="{594C0A41-4855-41E8-8A8F-15677C4F952F}"/>
          </ac:spMkLst>
        </pc:spChg>
      </pc:sldChg>
    </pc:docChg>
  </pc:docChgLst>
  <pc:docChgLst>
    <pc:chgData name="Ema Mandura" userId="S::m20200647@novaims.unl.pt::e7d66439-8edd-4b81-a871-f118cc9c81ad" providerId="AD" clId="Web-{33015EF8-544F-4E61-AA94-49D2030D7263}"/>
    <pc:docChg chg="modSld">
      <pc:chgData name="Ema Mandura" userId="S::m20200647@novaims.unl.pt::e7d66439-8edd-4b81-a871-f118cc9c81ad" providerId="AD" clId="Web-{33015EF8-544F-4E61-AA94-49D2030D7263}" dt="2021-03-01T12:49:24.356" v="8"/>
      <pc:docMkLst>
        <pc:docMk/>
      </pc:docMkLst>
      <pc:sldChg chg="addSp delSp modSp">
        <pc:chgData name="Ema Mandura" userId="S::m20200647@novaims.unl.pt::e7d66439-8edd-4b81-a871-f118cc9c81ad" providerId="AD" clId="Web-{33015EF8-544F-4E61-AA94-49D2030D7263}" dt="2021-03-01T12:49:24.356" v="8"/>
        <pc:sldMkLst>
          <pc:docMk/>
          <pc:sldMk cId="110023984" sldId="421"/>
        </pc:sldMkLst>
        <pc:spChg chg="add del mod">
          <ac:chgData name="Ema Mandura" userId="S::m20200647@novaims.unl.pt::e7d66439-8edd-4b81-a871-f118cc9c81ad" providerId="AD" clId="Web-{33015EF8-544F-4E61-AA94-49D2030D7263}" dt="2021-03-01T12:49:24.356" v="8"/>
          <ac:spMkLst>
            <pc:docMk/>
            <pc:sldMk cId="110023984" sldId="421"/>
            <ac:spMk id="2" creationId="{2EB36C4C-DF0A-468B-BE03-55A7B1C5A371}"/>
          </ac:spMkLst>
        </pc:spChg>
        <pc:spChg chg="mod">
          <ac:chgData name="Ema Mandura" userId="S::m20200647@novaims.unl.pt::e7d66439-8edd-4b81-a871-f118cc9c81ad" providerId="AD" clId="Web-{33015EF8-544F-4E61-AA94-49D2030D7263}" dt="2021-03-01T12:48:33.590" v="3" actId="20577"/>
          <ac:spMkLst>
            <pc:docMk/>
            <pc:sldMk cId="110023984" sldId="421"/>
            <ac:spMk id="7" creationId="{1CC8365B-B0D0-4316-90D9-71BB8A4A0556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718B71-1F8D-4DF1-9AD1-4256AC17F7D2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2ABEC22-91F5-4F94-B735-CCF8F8359256}">
      <dgm:prSet phldrT="[Text]" custT="1"/>
      <dgm:spPr>
        <a:solidFill>
          <a:schemeClr val="accent4"/>
        </a:solidFill>
        <a:ln>
          <a:solidFill>
            <a:schemeClr val="accent4"/>
          </a:solidFill>
        </a:ln>
      </dgm:spPr>
      <dgm:t>
        <a:bodyPr/>
        <a:lstStyle/>
        <a:p>
          <a:r>
            <a:rPr lang="en-US" sz="2000" b="0" i="0">
              <a:solidFill>
                <a:schemeClr val="bg1"/>
              </a:solidFill>
              <a:effectLst/>
              <a:latin typeface="Calibri" panose="020F0502020204030204" pitchFamily="34" charset="0"/>
            </a:rPr>
            <a:t>Characteristics of the customers</a:t>
          </a:r>
          <a:endParaRPr lang="en-US" sz="2000">
            <a:solidFill>
              <a:schemeClr val="bg1"/>
            </a:solidFill>
          </a:endParaRPr>
        </a:p>
      </dgm:t>
    </dgm:pt>
    <dgm:pt modelId="{47159BC1-8357-4D48-A97F-7729596F6A7E}" type="parTrans" cxnId="{C0ED5890-4369-4D3C-9845-4DF14A69311B}">
      <dgm:prSet/>
      <dgm:spPr/>
      <dgm:t>
        <a:bodyPr/>
        <a:lstStyle/>
        <a:p>
          <a:endParaRPr lang="en-US"/>
        </a:p>
      </dgm:t>
    </dgm:pt>
    <dgm:pt modelId="{0FFCCBA7-EB90-47C8-AA50-A34170A506EB}" type="sibTrans" cxnId="{C0ED5890-4369-4D3C-9845-4DF14A69311B}">
      <dgm:prSet/>
      <dgm:spPr/>
      <dgm:t>
        <a:bodyPr/>
        <a:lstStyle/>
        <a:p>
          <a:endParaRPr lang="en-US"/>
        </a:p>
      </dgm:t>
    </dgm:pt>
    <dgm:pt modelId="{FAB5B5C5-CEBB-49A0-8A49-F2B41AB6C167}">
      <dgm:prSet phldrT="[Text]" custT="1"/>
      <dgm:spPr>
        <a:solidFill>
          <a:schemeClr val="accent4"/>
        </a:solidFill>
        <a:ln>
          <a:solidFill>
            <a:schemeClr val="accent4"/>
          </a:solidFill>
        </a:ln>
      </dgm:spPr>
      <dgm:t>
        <a:bodyPr/>
        <a:lstStyle/>
        <a:p>
          <a:r>
            <a:rPr lang="en-US" sz="2000" b="0" i="0">
              <a:solidFill>
                <a:schemeClr val="bg1"/>
              </a:solidFill>
              <a:effectLst/>
              <a:latin typeface="Calibri" panose="020F0502020204030204" pitchFamily="34" charset="0"/>
            </a:rPr>
            <a:t>Detection of </a:t>
          </a:r>
        </a:p>
        <a:p>
          <a:r>
            <a:rPr lang="en-US" sz="2000" b="0" i="0">
              <a:solidFill>
                <a:schemeClr val="bg1"/>
              </a:solidFill>
              <a:effectLst/>
              <a:latin typeface="Calibri" panose="020F0502020204030204" pitchFamily="34" charset="0"/>
            </a:rPr>
            <a:t>customer groups</a:t>
          </a:r>
          <a:endParaRPr lang="en-US" sz="2000">
            <a:solidFill>
              <a:schemeClr val="bg1"/>
            </a:solidFill>
          </a:endParaRPr>
        </a:p>
      </dgm:t>
    </dgm:pt>
    <dgm:pt modelId="{2C9F9B68-C430-4BF6-83F1-D6E24C72C934}" type="parTrans" cxnId="{330F2928-FDA3-4DE6-923A-5A92F3360558}">
      <dgm:prSet/>
      <dgm:spPr/>
      <dgm:t>
        <a:bodyPr/>
        <a:lstStyle/>
        <a:p>
          <a:endParaRPr lang="en-US"/>
        </a:p>
      </dgm:t>
    </dgm:pt>
    <dgm:pt modelId="{B67C8FF6-BFC3-4818-A6C8-2562BAC7B0B7}" type="sibTrans" cxnId="{330F2928-FDA3-4DE6-923A-5A92F3360558}">
      <dgm:prSet/>
      <dgm:spPr/>
      <dgm:t>
        <a:bodyPr/>
        <a:lstStyle/>
        <a:p>
          <a:endParaRPr lang="en-US"/>
        </a:p>
      </dgm:t>
    </dgm:pt>
    <dgm:pt modelId="{5F081F18-CF90-4FC4-91D4-CFC8510E6283}">
      <dgm:prSet phldrT="[Text]" custT="1"/>
      <dgm:spPr>
        <a:solidFill>
          <a:schemeClr val="accent4"/>
        </a:solidFill>
        <a:ln>
          <a:solidFill>
            <a:schemeClr val="accent4"/>
          </a:solidFill>
        </a:ln>
      </dgm:spPr>
      <dgm:t>
        <a:bodyPr/>
        <a:lstStyle/>
        <a:p>
          <a:r>
            <a:rPr lang="en-US" sz="2000" b="0" i="0">
              <a:solidFill>
                <a:schemeClr val="bg1"/>
              </a:solidFill>
              <a:effectLst/>
              <a:latin typeface="Calibri" panose="020F0502020204030204" pitchFamily="34" charset="0"/>
            </a:rPr>
            <a:t>Marketing idea </a:t>
          </a:r>
        </a:p>
        <a:p>
          <a:r>
            <a:rPr lang="en-US" sz="2000" b="0" i="0">
              <a:solidFill>
                <a:schemeClr val="bg1"/>
              </a:solidFill>
              <a:effectLst/>
              <a:latin typeface="Calibri" panose="020F0502020204030204" pitchFamily="34" charset="0"/>
            </a:rPr>
            <a:t>for each segment</a:t>
          </a:r>
          <a:endParaRPr lang="en-US" sz="2000">
            <a:solidFill>
              <a:schemeClr val="bg1"/>
            </a:solidFill>
          </a:endParaRPr>
        </a:p>
      </dgm:t>
    </dgm:pt>
    <dgm:pt modelId="{D305FC6E-37E8-496C-B91F-E2EA02BB1931}" type="parTrans" cxnId="{9C323EFF-8177-4D3B-9F66-C4AF85C312A2}">
      <dgm:prSet/>
      <dgm:spPr/>
      <dgm:t>
        <a:bodyPr/>
        <a:lstStyle/>
        <a:p>
          <a:endParaRPr lang="en-US"/>
        </a:p>
      </dgm:t>
    </dgm:pt>
    <dgm:pt modelId="{13853FF2-BEB3-4E7B-8132-16DCBCA94831}" type="sibTrans" cxnId="{9C323EFF-8177-4D3B-9F66-C4AF85C312A2}">
      <dgm:prSet/>
      <dgm:spPr/>
      <dgm:t>
        <a:bodyPr/>
        <a:lstStyle/>
        <a:p>
          <a:endParaRPr lang="en-US"/>
        </a:p>
      </dgm:t>
    </dgm:pt>
    <dgm:pt modelId="{D4DB1435-4C1B-45D2-9E00-E2368FA760FF}" type="pres">
      <dgm:prSet presAssocID="{0B718B71-1F8D-4DF1-9AD1-4256AC17F7D2}" presName="CompostProcess" presStyleCnt="0">
        <dgm:presLayoutVars>
          <dgm:dir/>
          <dgm:resizeHandles val="exact"/>
        </dgm:presLayoutVars>
      </dgm:prSet>
      <dgm:spPr/>
    </dgm:pt>
    <dgm:pt modelId="{200DDB22-2981-45FE-9939-1165F96D5B23}" type="pres">
      <dgm:prSet presAssocID="{0B718B71-1F8D-4DF1-9AD1-4256AC17F7D2}" presName="arrow" presStyleLbl="bgShp" presStyleIdx="0" presStyleCnt="1"/>
      <dgm:spPr>
        <a:solidFill>
          <a:schemeClr val="tx2"/>
        </a:solidFill>
      </dgm:spPr>
    </dgm:pt>
    <dgm:pt modelId="{92FF2E53-B0A2-4F76-9BF0-C35ECF9713FE}" type="pres">
      <dgm:prSet presAssocID="{0B718B71-1F8D-4DF1-9AD1-4256AC17F7D2}" presName="linearProcess" presStyleCnt="0"/>
      <dgm:spPr/>
    </dgm:pt>
    <dgm:pt modelId="{A8E28B87-94F3-4889-B051-4D923F901D1D}" type="pres">
      <dgm:prSet presAssocID="{22ABEC22-91F5-4F94-B735-CCF8F8359256}" presName="textNode" presStyleLbl="node1" presStyleIdx="0" presStyleCnt="3">
        <dgm:presLayoutVars>
          <dgm:bulletEnabled val="1"/>
        </dgm:presLayoutVars>
      </dgm:prSet>
      <dgm:spPr/>
    </dgm:pt>
    <dgm:pt modelId="{E3FAAA3A-7459-4314-A050-DB71D46692F9}" type="pres">
      <dgm:prSet presAssocID="{0FFCCBA7-EB90-47C8-AA50-A34170A506EB}" presName="sibTrans" presStyleCnt="0"/>
      <dgm:spPr/>
    </dgm:pt>
    <dgm:pt modelId="{884BD8C0-2C1F-4395-8FC7-63C69852731A}" type="pres">
      <dgm:prSet presAssocID="{FAB5B5C5-CEBB-49A0-8A49-F2B41AB6C167}" presName="textNode" presStyleLbl="node1" presStyleIdx="1" presStyleCnt="3">
        <dgm:presLayoutVars>
          <dgm:bulletEnabled val="1"/>
        </dgm:presLayoutVars>
      </dgm:prSet>
      <dgm:spPr/>
    </dgm:pt>
    <dgm:pt modelId="{AECA3562-01C2-4E5B-85E0-4F901BC90D8D}" type="pres">
      <dgm:prSet presAssocID="{B67C8FF6-BFC3-4818-A6C8-2562BAC7B0B7}" presName="sibTrans" presStyleCnt="0"/>
      <dgm:spPr/>
    </dgm:pt>
    <dgm:pt modelId="{2E4F659E-7D09-4537-AD55-1FE704AEB21C}" type="pres">
      <dgm:prSet presAssocID="{5F081F18-CF90-4FC4-91D4-CFC8510E6283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22989A00-0667-43FB-9CAE-2F140C4302B9}" type="presOf" srcId="{5F081F18-CF90-4FC4-91D4-CFC8510E6283}" destId="{2E4F659E-7D09-4537-AD55-1FE704AEB21C}" srcOrd="0" destOrd="0" presId="urn:microsoft.com/office/officeart/2005/8/layout/hProcess9"/>
    <dgm:cxn modelId="{330F2928-FDA3-4DE6-923A-5A92F3360558}" srcId="{0B718B71-1F8D-4DF1-9AD1-4256AC17F7D2}" destId="{FAB5B5C5-CEBB-49A0-8A49-F2B41AB6C167}" srcOrd="1" destOrd="0" parTransId="{2C9F9B68-C430-4BF6-83F1-D6E24C72C934}" sibTransId="{B67C8FF6-BFC3-4818-A6C8-2562BAC7B0B7}"/>
    <dgm:cxn modelId="{C0ED5890-4369-4D3C-9845-4DF14A69311B}" srcId="{0B718B71-1F8D-4DF1-9AD1-4256AC17F7D2}" destId="{22ABEC22-91F5-4F94-B735-CCF8F8359256}" srcOrd="0" destOrd="0" parTransId="{47159BC1-8357-4D48-A97F-7729596F6A7E}" sibTransId="{0FFCCBA7-EB90-47C8-AA50-A34170A506EB}"/>
    <dgm:cxn modelId="{0507F6A7-8556-4C87-A16D-036E5AAF6834}" type="presOf" srcId="{FAB5B5C5-CEBB-49A0-8A49-F2B41AB6C167}" destId="{884BD8C0-2C1F-4395-8FC7-63C69852731A}" srcOrd="0" destOrd="0" presId="urn:microsoft.com/office/officeart/2005/8/layout/hProcess9"/>
    <dgm:cxn modelId="{0437C1B5-4E32-493A-99AB-3D9E2609C523}" type="presOf" srcId="{22ABEC22-91F5-4F94-B735-CCF8F8359256}" destId="{A8E28B87-94F3-4889-B051-4D923F901D1D}" srcOrd="0" destOrd="0" presId="urn:microsoft.com/office/officeart/2005/8/layout/hProcess9"/>
    <dgm:cxn modelId="{AA79C5E8-D952-4CA3-B439-31F8CB7AB182}" type="presOf" srcId="{0B718B71-1F8D-4DF1-9AD1-4256AC17F7D2}" destId="{D4DB1435-4C1B-45D2-9E00-E2368FA760FF}" srcOrd="0" destOrd="0" presId="urn:microsoft.com/office/officeart/2005/8/layout/hProcess9"/>
    <dgm:cxn modelId="{9C323EFF-8177-4D3B-9F66-C4AF85C312A2}" srcId="{0B718B71-1F8D-4DF1-9AD1-4256AC17F7D2}" destId="{5F081F18-CF90-4FC4-91D4-CFC8510E6283}" srcOrd="2" destOrd="0" parTransId="{D305FC6E-37E8-496C-B91F-E2EA02BB1931}" sibTransId="{13853FF2-BEB3-4E7B-8132-16DCBCA94831}"/>
    <dgm:cxn modelId="{620891AE-4451-441B-80FD-6C1676B2AB89}" type="presParOf" srcId="{D4DB1435-4C1B-45D2-9E00-E2368FA760FF}" destId="{200DDB22-2981-45FE-9939-1165F96D5B23}" srcOrd="0" destOrd="0" presId="urn:microsoft.com/office/officeart/2005/8/layout/hProcess9"/>
    <dgm:cxn modelId="{466826ED-A4F2-45EA-82F0-96612E0BE7BD}" type="presParOf" srcId="{D4DB1435-4C1B-45D2-9E00-E2368FA760FF}" destId="{92FF2E53-B0A2-4F76-9BF0-C35ECF9713FE}" srcOrd="1" destOrd="0" presId="urn:microsoft.com/office/officeart/2005/8/layout/hProcess9"/>
    <dgm:cxn modelId="{6C41498A-932B-48CA-A165-184D49214D02}" type="presParOf" srcId="{92FF2E53-B0A2-4F76-9BF0-C35ECF9713FE}" destId="{A8E28B87-94F3-4889-B051-4D923F901D1D}" srcOrd="0" destOrd="0" presId="urn:microsoft.com/office/officeart/2005/8/layout/hProcess9"/>
    <dgm:cxn modelId="{48E9DFCA-DF24-4343-AD07-38FE0DCF0600}" type="presParOf" srcId="{92FF2E53-B0A2-4F76-9BF0-C35ECF9713FE}" destId="{E3FAAA3A-7459-4314-A050-DB71D46692F9}" srcOrd="1" destOrd="0" presId="urn:microsoft.com/office/officeart/2005/8/layout/hProcess9"/>
    <dgm:cxn modelId="{847C2A65-3FAF-4057-9B32-C19D352AD195}" type="presParOf" srcId="{92FF2E53-B0A2-4F76-9BF0-C35ECF9713FE}" destId="{884BD8C0-2C1F-4395-8FC7-63C69852731A}" srcOrd="2" destOrd="0" presId="urn:microsoft.com/office/officeart/2005/8/layout/hProcess9"/>
    <dgm:cxn modelId="{2D0BF55A-854D-4CBB-9C96-92342EA76C9A}" type="presParOf" srcId="{92FF2E53-B0A2-4F76-9BF0-C35ECF9713FE}" destId="{AECA3562-01C2-4E5B-85E0-4F901BC90D8D}" srcOrd="3" destOrd="0" presId="urn:microsoft.com/office/officeart/2005/8/layout/hProcess9"/>
    <dgm:cxn modelId="{AE238E55-EAB8-45C5-A638-CFC6430A4378}" type="presParOf" srcId="{92FF2E53-B0A2-4F76-9BF0-C35ECF9713FE}" destId="{2E4F659E-7D09-4537-AD55-1FE704AEB21C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0DDB22-2981-45FE-9939-1165F96D5B23}">
      <dsp:nvSpPr>
        <dsp:cNvPr id="0" name=""/>
        <dsp:cNvSpPr/>
      </dsp:nvSpPr>
      <dsp:spPr>
        <a:xfrm>
          <a:off x="657224" y="0"/>
          <a:ext cx="7448549" cy="4595132"/>
        </a:xfrm>
        <a:prstGeom prst="rightArrow">
          <a:avLst/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E28B87-94F3-4889-B051-4D923F901D1D}">
      <dsp:nvSpPr>
        <dsp:cNvPr id="0" name=""/>
        <dsp:cNvSpPr/>
      </dsp:nvSpPr>
      <dsp:spPr>
        <a:xfrm>
          <a:off x="0" y="1378539"/>
          <a:ext cx="2628899" cy="1838052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Characteristics of the customers</a:t>
          </a:r>
          <a:endParaRPr lang="en-US" sz="2000" kern="1200">
            <a:solidFill>
              <a:schemeClr val="bg1"/>
            </a:solidFill>
          </a:endParaRPr>
        </a:p>
      </dsp:txBody>
      <dsp:txXfrm>
        <a:off x="89726" y="1468265"/>
        <a:ext cx="2449447" cy="1658600"/>
      </dsp:txXfrm>
    </dsp:sp>
    <dsp:sp modelId="{884BD8C0-2C1F-4395-8FC7-63C69852731A}">
      <dsp:nvSpPr>
        <dsp:cNvPr id="0" name=""/>
        <dsp:cNvSpPr/>
      </dsp:nvSpPr>
      <dsp:spPr>
        <a:xfrm>
          <a:off x="3067049" y="1378539"/>
          <a:ext cx="2628899" cy="1838052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Detection of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customer groups</a:t>
          </a:r>
          <a:endParaRPr lang="en-US" sz="2000" kern="1200">
            <a:solidFill>
              <a:schemeClr val="bg1"/>
            </a:solidFill>
          </a:endParaRPr>
        </a:p>
      </dsp:txBody>
      <dsp:txXfrm>
        <a:off x="3156775" y="1468265"/>
        <a:ext cx="2449447" cy="1658600"/>
      </dsp:txXfrm>
    </dsp:sp>
    <dsp:sp modelId="{2E4F659E-7D09-4537-AD55-1FE704AEB21C}">
      <dsp:nvSpPr>
        <dsp:cNvPr id="0" name=""/>
        <dsp:cNvSpPr/>
      </dsp:nvSpPr>
      <dsp:spPr>
        <a:xfrm>
          <a:off x="6134099" y="1378539"/>
          <a:ext cx="2628899" cy="1838052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Marketing idea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for each segment</a:t>
          </a:r>
          <a:endParaRPr lang="en-US" sz="2000" kern="1200">
            <a:solidFill>
              <a:schemeClr val="bg1"/>
            </a:solidFill>
          </a:endParaRPr>
        </a:p>
      </dsp:txBody>
      <dsp:txXfrm>
        <a:off x="6223825" y="1468265"/>
        <a:ext cx="2449447" cy="1658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71CAFE-8AEA-4D52-AAF2-3D070CE4405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0FDFAD-D252-45AE-9678-B90147DD0F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9176AB-D81D-4041-8EE2-E2BAA631CD8C}" type="datetimeFigureOut">
              <a:rPr lang="de-AT" smtClean="0"/>
              <a:t>02.03.2021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782CFC-69EE-485F-B720-BA7C193C85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21472A-B7BB-428B-9720-81FC3AF1D66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E086AF-CC92-46CE-8868-4BF61D7D1383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88188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368B8-C048-4CC1-AAAB-ACC066592F3C}" type="datetimeFigureOut">
              <a:rPr lang="en-US" smtClean="0"/>
              <a:t>3/2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0B1AD0-D677-44B9-9B76-67839AC9A9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720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0B1AD0-D677-44B9-9B76-67839AC9A9E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708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39FB9-7B25-4DC3-999A-B2E391E2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417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39FB9-7B25-4DC3-999A-B2E391E2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49C34DC6-A2AA-4AEC-B5EC-8F3A3B1865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87181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F67D9D-CEA9-4AC4-A0A2-E3E58B852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37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F67D9D-CEA9-4AC4-A0A2-E3E58B852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E2050AD-61D3-4F60-9F7E-C3C01333A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D858206-402F-4809-BB43-18D9ED3E3E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38D17D5-DCDA-423D-B338-61E45A652A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74814"/>
            <a:ext cx="10801350" cy="469749"/>
          </a:xfrm>
        </p:spPr>
        <p:txBody>
          <a:bodyPr rIns="0" bIns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000" b="1" kern="1200" dirty="0" smtClean="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6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err="1"/>
              <a:t>Actiontitle</a:t>
            </a:r>
            <a:r>
              <a:rPr lang="en-US"/>
              <a:t> </a:t>
            </a:r>
            <a:r>
              <a:rPr lang="en-US" err="1"/>
              <a:t>zweizeilig</a:t>
            </a:r>
            <a:endParaRPr lang="en-US"/>
          </a:p>
          <a:p>
            <a:pPr lvl="0"/>
            <a:r>
              <a:rPr lang="en-US" err="1"/>
              <a:t>Actiontitle</a:t>
            </a:r>
            <a:r>
              <a:rPr lang="en-US"/>
              <a:t> </a:t>
            </a:r>
            <a:r>
              <a:rPr lang="en-US" err="1"/>
              <a:t>zweizeilig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F999EB4-106B-40BC-B7C7-74F21AD5AAC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95325" y="6237287"/>
            <a:ext cx="9864000" cy="395288"/>
          </a:xfrm>
        </p:spPr>
        <p:txBody>
          <a:bodyPr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100" i="1" kern="1200" dirty="0" smtClean="0">
                <a:solidFill>
                  <a:schemeClr val="accent4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Quellen, Fußnoten, Anmerkungen, etc. einfügen. </a:t>
            </a:r>
          </a:p>
        </p:txBody>
      </p:sp>
      <p:pic>
        <p:nvPicPr>
          <p:cNvPr id="8" name="Picture 306" descr="Master in Information Management - Specialization in Information Systems  and Technologies Management NOVA Information Management School (NOVA IMS) -  Universidade Nova de Lisboa">
            <a:extLst>
              <a:ext uri="{FF2B5EF4-FFF2-40B4-BE49-F238E27FC236}">
                <a16:creationId xmlns:a16="http://schemas.microsoft.com/office/drawing/2014/main" id="{04FB4509-260F-485B-B423-4E45B7F85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8182" y="271551"/>
            <a:ext cx="650674" cy="67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0984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29" userDrawn="1">
          <p15:clr>
            <a:srgbClr val="547EBF"/>
          </p15:clr>
        </p15:guide>
        <p15:guide id="3" pos="3885" userDrawn="1">
          <p15:clr>
            <a:srgbClr val="A4A3A4"/>
          </p15:clr>
        </p15:guide>
        <p15:guide id="4" pos="4180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5D9CDC-7AF7-499C-A58B-F92A4DB7A5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70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5D9CDC-7AF7-499C-A58B-F92A4DB7A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88F75C-16D8-49BC-9AE4-5A19543352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304925"/>
            <a:ext cx="10801349" cy="493236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4E2050AD-61D3-4F60-9F7E-C3C01333A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D858206-402F-4809-BB43-18D9ED3E3E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A38D17D5-DCDA-423D-B338-61E45A652A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74814"/>
            <a:ext cx="10801350" cy="469749"/>
          </a:xfrm>
        </p:spPr>
        <p:txBody>
          <a:bodyPr rIns="0" bIns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0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6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err="1"/>
              <a:t>Actiontitle</a:t>
            </a:r>
            <a:r>
              <a:rPr lang="en-US"/>
              <a:t> </a:t>
            </a:r>
            <a:r>
              <a:rPr lang="en-US" err="1"/>
              <a:t>zweizeilig</a:t>
            </a:r>
            <a:endParaRPr lang="en-US"/>
          </a:p>
          <a:p>
            <a:pPr lvl="0"/>
            <a:r>
              <a:rPr lang="en-US" err="1"/>
              <a:t>Actiontitle</a:t>
            </a:r>
            <a:r>
              <a:rPr lang="en-US"/>
              <a:t> </a:t>
            </a:r>
            <a:r>
              <a:rPr lang="en-US" err="1"/>
              <a:t>zweizeilig</a:t>
            </a:r>
            <a:endParaRPr lang="en-US"/>
          </a:p>
        </p:txBody>
      </p:sp>
      <p:pic>
        <p:nvPicPr>
          <p:cNvPr id="8" name="Picture 306" descr="Master in Information Management - Specialization in Information Systems  and Technologies Management NOVA Information Management School (NOVA IMS) -  Universidade Nova de Lisboa">
            <a:extLst>
              <a:ext uri="{FF2B5EF4-FFF2-40B4-BE49-F238E27FC236}">
                <a16:creationId xmlns:a16="http://schemas.microsoft.com/office/drawing/2014/main" id="{8C313E12-A689-450D-867E-05F8108119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8182" y="271551"/>
            <a:ext cx="650674" cy="67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2681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29">
          <p15:clr>
            <a:srgbClr val="547EBF"/>
          </p15:clr>
        </p15:guide>
        <p15:guide id="3" pos="384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3" name="Picture 499">
            <a:extLst>
              <a:ext uri="{FF2B5EF4-FFF2-40B4-BE49-F238E27FC236}">
                <a16:creationId xmlns:a16="http://schemas.microsoft.com/office/drawing/2014/main" id="{B6C382D6-BBBA-9442-A4DC-7D7A98DE86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B36C3E-230F-4CFF-971D-42736E92EB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88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B36C3E-230F-4CFF-971D-42736E92E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2BD8507D-7C7A-4E0B-9A31-8D5607372D3F}"/>
              </a:ext>
            </a:extLst>
          </p:cNvPr>
          <p:cNvSpPr/>
          <p:nvPr userDrawn="1"/>
        </p:nvSpPr>
        <p:spPr bwMode="blackWhite">
          <a:xfrm>
            <a:off x="3177" y="3220505"/>
            <a:ext cx="12188824" cy="2445120"/>
          </a:xfrm>
          <a:prstGeom prst="rect">
            <a:avLst/>
          </a:prstGeom>
          <a:solidFill>
            <a:srgbClr val="BED62F">
              <a:alpha val="94000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0000" tIns="45720" rIns="91440" bIns="45720" rtlCol="0" anchor="ctr"/>
          <a:lstStyle/>
          <a:p>
            <a:pPr algn="l"/>
            <a:r>
              <a:rPr lang="en-US" sz="4400" b="1" dirty="0"/>
              <a:t>Business case #1</a:t>
            </a:r>
          </a:p>
          <a:p>
            <a:pPr algn="l"/>
            <a:r>
              <a:rPr lang="en-US" sz="4400" b="1" dirty="0"/>
              <a:t>Wonderful Wines of the World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15D03B5-4982-45F4-AFD3-11960580A51F}"/>
              </a:ext>
            </a:extLst>
          </p:cNvPr>
          <p:cNvSpPr txBox="1"/>
          <p:nvPr userDrawn="1"/>
        </p:nvSpPr>
        <p:spPr>
          <a:xfrm>
            <a:off x="-609872" y="-346775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</a:rPr>
              <a:t>15,00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F513932-6190-4321-BC03-439E174128DC}"/>
              </a:ext>
            </a:extLst>
          </p:cNvPr>
          <p:cNvSpPr txBox="1"/>
          <p:nvPr userDrawn="1"/>
        </p:nvSpPr>
        <p:spPr>
          <a:xfrm>
            <a:off x="11571818" y="-346775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</a:rPr>
              <a:t>15,0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0620491-83BF-4F78-B22A-1271271900C6}"/>
              </a:ext>
            </a:extLst>
          </p:cNvPr>
          <p:cNvSpPr txBox="1"/>
          <p:nvPr userDrawn="1"/>
        </p:nvSpPr>
        <p:spPr>
          <a:xfrm>
            <a:off x="-1332139" y="4833939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</a:rPr>
              <a:t>3,9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876ED2F-C940-438F-A024-FF58EADE151C}"/>
              </a:ext>
            </a:extLst>
          </p:cNvPr>
          <p:cNvSpPr txBox="1"/>
          <p:nvPr userDrawn="1"/>
        </p:nvSpPr>
        <p:spPr>
          <a:xfrm>
            <a:off x="-1301540" y="6250136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</a:rPr>
              <a:t>7,70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A6656AB-B675-440D-8807-25093640CADE}"/>
              </a:ext>
            </a:extLst>
          </p:cNvPr>
          <p:cNvSpPr txBox="1"/>
          <p:nvPr userDrawn="1"/>
        </p:nvSpPr>
        <p:spPr>
          <a:xfrm>
            <a:off x="-1332139" y="392304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</a:rPr>
              <a:t>2,10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50C3F6B-9752-49C6-889C-2B906328C259}"/>
              </a:ext>
            </a:extLst>
          </p:cNvPr>
          <p:cNvSpPr txBox="1"/>
          <p:nvPr userDrawn="1"/>
        </p:nvSpPr>
        <p:spPr>
          <a:xfrm>
            <a:off x="12205599" y="4833939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</a:rPr>
              <a:t>3,90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61C7E49-3776-450A-A267-5CC23C433916}"/>
              </a:ext>
            </a:extLst>
          </p:cNvPr>
          <p:cNvSpPr txBox="1"/>
          <p:nvPr userDrawn="1"/>
        </p:nvSpPr>
        <p:spPr>
          <a:xfrm>
            <a:off x="12236198" y="6250136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</a:rPr>
              <a:t>7,7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1948042A-C73D-4A20-A50E-A4E6BDFBEEAF}"/>
              </a:ext>
            </a:extLst>
          </p:cNvPr>
          <p:cNvSpPr txBox="1"/>
          <p:nvPr userDrawn="1"/>
        </p:nvSpPr>
        <p:spPr>
          <a:xfrm>
            <a:off x="12205599" y="392304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</a:rPr>
              <a:t>2,10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56A299CD-1B5D-46AC-B48B-54162C5837B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0" y="5660245"/>
            <a:ext cx="12188823" cy="106305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lIns="720000" tIns="216000" rIns="324000" bIns="21600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1440" kern="1200" baseline="0" dirty="0" smtClean="0">
                <a:solidFill>
                  <a:schemeClr val="tx1"/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>
                <a:latin typeface="+mn-lt"/>
              </a:rPr>
              <a:t>NOVA IMS Business Cases for Data Science project</a:t>
            </a:r>
          </a:p>
          <a:p>
            <a:r>
              <a:rPr lang="en-US" sz="1800">
                <a:latin typeface="+mn-lt"/>
              </a:rPr>
              <a:t>Group F</a:t>
            </a:r>
          </a:p>
        </p:txBody>
      </p:sp>
      <p:pic>
        <p:nvPicPr>
          <p:cNvPr id="21" name="Picture 306" descr="Master in Information Management - Specialization in Information Systems  and Technologies Management NOVA Information Management School (NOVA IMS) -  Universidade Nova de Lisboa">
            <a:extLst>
              <a:ext uri="{FF2B5EF4-FFF2-40B4-BE49-F238E27FC236}">
                <a16:creationId xmlns:a16="http://schemas.microsoft.com/office/drawing/2014/main" id="{C2648735-3885-4D38-A5FC-4FFF82DFA3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2028" y="5835559"/>
            <a:ext cx="650674" cy="67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482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venirNext LT Pro Regular" panose="020B05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venirNext LT Pro Regular" panose="020B0504020202020204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Next LT Pro Regular" panose="020B0504020202020204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Next LT Pro Regular" panose="020B0504020202020204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Next LT Pro Regular" panose="020B0504020202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Next LT Pro Regular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547EBF"/>
          </p15:clr>
        </p15:guide>
        <p15:guide id="2" pos="7242">
          <p15:clr>
            <a:srgbClr val="547EBF"/>
          </p15:clr>
        </p15:guide>
        <p15:guide id="3" orient="horz" pos="2636">
          <p15:clr>
            <a:srgbClr val="547EBF"/>
          </p15:clr>
        </p15:guide>
        <p15:guide id="4" orient="horz" pos="3045">
          <p15:clr>
            <a:srgbClr val="547EBF"/>
          </p15:clr>
        </p15:guide>
        <p15:guide id="5" orient="horz" pos="3906">
          <p15:clr>
            <a:srgbClr val="547EBF"/>
          </p15:clr>
        </p15:guide>
        <p15:guide id="6" pos="7680">
          <p15:clr>
            <a:srgbClr val="A4A3A4"/>
          </p15:clr>
        </p15:guide>
        <p15:guide id="7">
          <p15:clr>
            <a:srgbClr val="A4A3A4"/>
          </p15:clr>
        </p15:guide>
        <p15:guide id="8" orient="horz">
          <p15:clr>
            <a:srgbClr val="A4A3A4"/>
          </p15:clr>
        </p15:guide>
        <p15:guide id="9" orient="horz" pos="432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9E8664-9209-425E-B33F-0B11490E9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66450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9E8664-9209-425E-B33F-0B11490E9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3FD0E5-6FB5-4666-AA51-BD2E6DEE0E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304926"/>
            <a:ext cx="10801350" cy="493236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Standardtext</a:t>
            </a:r>
          </a:p>
          <a:p>
            <a:pPr lvl="1"/>
            <a:r>
              <a:rPr lang="en-US"/>
              <a:t>Aufzählung 1. Ebene</a:t>
            </a:r>
          </a:p>
          <a:p>
            <a:pPr lvl="2"/>
            <a:r>
              <a:rPr lang="en-US"/>
              <a:t>Aufzählung 2. Ebene</a:t>
            </a:r>
          </a:p>
          <a:p>
            <a:pPr lvl="3"/>
            <a:r>
              <a:rPr lang="en-US"/>
              <a:t>Aufzählung 3. Eben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15D03B5-4982-45F4-AFD3-11960580A51F}"/>
              </a:ext>
            </a:extLst>
          </p:cNvPr>
          <p:cNvSpPr txBox="1"/>
          <p:nvPr userDrawn="1"/>
        </p:nvSpPr>
        <p:spPr>
          <a:xfrm>
            <a:off x="-609872" y="-346775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  <a:latin typeface="+mj-lt"/>
              </a:rPr>
              <a:t>15,00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F513932-6190-4321-BC03-439E174128DC}"/>
              </a:ext>
            </a:extLst>
          </p:cNvPr>
          <p:cNvSpPr txBox="1"/>
          <p:nvPr userDrawn="1"/>
        </p:nvSpPr>
        <p:spPr>
          <a:xfrm>
            <a:off x="11571818" y="-346775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  <a:latin typeface="+mj-lt"/>
              </a:rPr>
              <a:t>15,0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AA8D871-7D2E-4E37-9A73-26681C830865}"/>
              </a:ext>
            </a:extLst>
          </p:cNvPr>
          <p:cNvSpPr txBox="1"/>
          <p:nvPr userDrawn="1"/>
        </p:nvSpPr>
        <p:spPr>
          <a:xfrm>
            <a:off x="-1301540" y="67656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  <a:latin typeface="+mj-lt"/>
              </a:rPr>
              <a:t>6,9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0620491-83BF-4F78-B22A-1271271900C6}"/>
              </a:ext>
            </a:extLst>
          </p:cNvPr>
          <p:cNvSpPr txBox="1"/>
          <p:nvPr userDrawn="1"/>
        </p:nvSpPr>
        <p:spPr>
          <a:xfrm>
            <a:off x="-1301540" y="1301167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  <a:latin typeface="+mj-lt"/>
              </a:rPr>
              <a:t>5,9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876ED2F-C940-438F-A024-FF58EADE151C}"/>
              </a:ext>
            </a:extLst>
          </p:cNvPr>
          <p:cNvSpPr txBox="1"/>
          <p:nvPr userDrawn="1"/>
        </p:nvSpPr>
        <p:spPr>
          <a:xfrm>
            <a:off x="-1301540" y="6250136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tx2"/>
                </a:solidFill>
                <a:latin typeface="+mj-lt"/>
              </a:rPr>
              <a:t>7,80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764895B-50AA-4E17-A3C3-F47864A9C99B}"/>
              </a:ext>
            </a:extLst>
          </p:cNvPr>
          <p:cNvSpPr txBox="1"/>
          <p:nvPr userDrawn="1"/>
        </p:nvSpPr>
        <p:spPr>
          <a:xfrm>
            <a:off x="12222588" y="6223355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  <a:latin typeface="+mj-lt"/>
              </a:rPr>
              <a:t>7,80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94829666-F77F-429B-9DF4-F6496FCAF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675" y="6237288"/>
            <a:ext cx="695324" cy="38349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algn="ctr">
              <a:defRPr lang="de-AT" sz="1200" kern="1200" smtClean="0">
                <a:ln w="9525" cap="sq">
                  <a:noFill/>
                  <a:miter lim="800000"/>
                </a:ln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D858206-402F-4809-BB43-18D9ED3E3E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E785DEB-0E77-421E-A3FA-88271D31299B}"/>
              </a:ext>
            </a:extLst>
          </p:cNvPr>
          <p:cNvSpPr txBox="1"/>
          <p:nvPr userDrawn="1"/>
        </p:nvSpPr>
        <p:spPr>
          <a:xfrm>
            <a:off x="-1301540" y="-34472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  <a:latin typeface="+mj-lt"/>
              </a:rPr>
              <a:t>8,90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BEF4DDA-1948-4DE1-B677-434487268A5F}"/>
              </a:ext>
            </a:extLst>
          </p:cNvPr>
          <p:cNvSpPr txBox="1"/>
          <p:nvPr userDrawn="1"/>
        </p:nvSpPr>
        <p:spPr>
          <a:xfrm>
            <a:off x="-1284495" y="663067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  <a:latin typeface="+mj-lt"/>
              </a:rPr>
              <a:t>8,90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786013C-E41B-431A-9093-4F3256B44FF2}"/>
              </a:ext>
            </a:extLst>
          </p:cNvPr>
          <p:cNvSpPr txBox="1"/>
          <p:nvPr userDrawn="1"/>
        </p:nvSpPr>
        <p:spPr>
          <a:xfrm>
            <a:off x="12200098" y="67656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  <a:latin typeface="+mj-lt"/>
              </a:rPr>
              <a:t>6,9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D9A8AF9-3524-4395-A307-8735DAECF68D}"/>
              </a:ext>
            </a:extLst>
          </p:cNvPr>
          <p:cNvSpPr txBox="1"/>
          <p:nvPr userDrawn="1"/>
        </p:nvSpPr>
        <p:spPr>
          <a:xfrm>
            <a:off x="12200098" y="1301167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2"/>
                </a:solidFill>
                <a:latin typeface="+mj-lt"/>
              </a:rPr>
              <a:t>5,90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64595D3-4E9B-4069-9B94-1564BBBEBC04}"/>
              </a:ext>
            </a:extLst>
          </p:cNvPr>
          <p:cNvSpPr txBox="1"/>
          <p:nvPr userDrawn="1"/>
        </p:nvSpPr>
        <p:spPr>
          <a:xfrm>
            <a:off x="12200098" y="-34472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bg1">
                    <a:lumMod val="50000"/>
                  </a:schemeClr>
                </a:solidFill>
                <a:latin typeface="+mj-lt"/>
              </a:rPr>
              <a:t>8,90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73EA980-516D-426F-BD2A-C1B13054A4D7}"/>
              </a:ext>
            </a:extLst>
          </p:cNvPr>
          <p:cNvSpPr txBox="1"/>
          <p:nvPr userDrawn="1"/>
        </p:nvSpPr>
        <p:spPr>
          <a:xfrm>
            <a:off x="12217143" y="6630670"/>
            <a:ext cx="1301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bg1">
                    <a:lumMod val="50000"/>
                  </a:schemeClr>
                </a:solidFill>
                <a:latin typeface="+mj-lt"/>
              </a:rPr>
              <a:t>8,90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E671125-07F0-46A1-94B6-D2FAD1ACA2B1}"/>
              </a:ext>
            </a:extLst>
          </p:cNvPr>
          <p:cNvSpPr/>
          <p:nvPr userDrawn="1"/>
        </p:nvSpPr>
        <p:spPr>
          <a:xfrm>
            <a:off x="-5995460" y="1669917"/>
            <a:ext cx="1080000" cy="10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6293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22" r:id="rId2"/>
  </p:sldLayoutIdLst>
  <p:hf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de-AT" sz="1600" b="1" kern="1200" cap="all" baseline="0" dirty="0">
          <a:ln w="9525" cap="sq">
            <a:noFill/>
            <a:miter lim="800000"/>
          </a:ln>
          <a:solidFill>
            <a:schemeClr val="tx2"/>
          </a:solidFill>
          <a:latin typeface="Avenir Next LT Pro" panose="020B0504020202020204" pitchFamily="34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500"/>
        </a:spcBef>
        <a:buSzPct val="100000"/>
        <a:buFontTx/>
        <a:buBlip>
          <a:blip r:embed="rId7"/>
        </a:buBlip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Tx/>
        <a:buBlip>
          <a:blip r:embed="rId8"/>
        </a:buBlip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venirNext LT Pro Regular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547EBF"/>
          </p15:clr>
        </p15:guide>
        <p15:guide id="2" pos="7242">
          <p15:clr>
            <a:srgbClr val="547EBF"/>
          </p15:clr>
        </p15:guide>
        <p15:guide id="3" orient="horz" pos="595">
          <p15:clr>
            <a:srgbClr val="547EBF"/>
          </p15:clr>
        </p15:guide>
        <p15:guide id="4" orient="horz" pos="822">
          <p15:clr>
            <a:srgbClr val="547EBF"/>
          </p15:clr>
        </p15:guide>
        <p15:guide id="5" orient="horz" pos="3929">
          <p15:clr>
            <a:srgbClr val="547EBF"/>
          </p15:clr>
        </p15:guide>
        <p15:guide id="6" orient="horz" pos="4178">
          <p15:clr>
            <a:srgbClr val="A4A3A4"/>
          </p15:clr>
        </p15:guide>
        <p15:guide id="7" orient="horz" pos="2375">
          <p15:clr>
            <a:srgbClr val="A4A3A4"/>
          </p15:clr>
        </p15:guide>
        <p15:guide id="8" orient="horz" pos="14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11" Type="http://schemas.openxmlformats.org/officeDocument/2006/relationships/hyperlink" Target="https://hbr.org/2014/07/what-you-need-to-know-about-segmentation" TargetMode="External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6.png"/><Relationship Id="rId7" Type="http://schemas.openxmlformats.org/officeDocument/2006/relationships/image" Target="../media/image2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8.png"/><Relationship Id="rId10" Type="http://schemas.openxmlformats.org/officeDocument/2006/relationships/image" Target="../media/image7.svg"/><Relationship Id="rId4" Type="http://schemas.openxmlformats.org/officeDocument/2006/relationships/image" Target="../media/image17.svg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orenzoPigozzi/Business_Cases/tree/main/Case%201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FED254-5069-4E10-A0A4-9CDBDE89A1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911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FED254-5069-4E10-A0A4-9CDBDE89A1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1281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767F2-C6EE-4644-9555-55567824C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E935CE-2452-A541-AB13-114D03968C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5" y="474814"/>
            <a:ext cx="10801350" cy="469749"/>
          </a:xfrm>
        </p:spPr>
        <p:txBody>
          <a:bodyPr/>
          <a:lstStyle/>
          <a:p>
            <a:r>
              <a:rPr lang="en-US" sz="2400">
                <a:solidFill>
                  <a:schemeClr val="accent4">
                    <a:lumMod val="75000"/>
                  </a:schemeClr>
                </a:solidFill>
              </a:rPr>
              <a:t>Today’s agend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7FA272-81FF-4343-9258-0AAF03644D0D}"/>
              </a:ext>
            </a:extLst>
          </p:cNvPr>
          <p:cNvSpPr/>
          <p:nvPr/>
        </p:nvSpPr>
        <p:spPr>
          <a:xfrm>
            <a:off x="1468409" y="1346661"/>
            <a:ext cx="7331826" cy="437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300000"/>
              </a:lnSpc>
            </a:pPr>
            <a:r>
              <a:rPr lang="en-US" b="1" dirty="0">
                <a:solidFill>
                  <a:schemeClr val="tx2"/>
                </a:solidFill>
              </a:rPr>
              <a:t>PROBLEM STATEMENT</a:t>
            </a:r>
          </a:p>
          <a:p>
            <a:pPr>
              <a:lnSpc>
                <a:spcPct val="300000"/>
              </a:lnSpc>
            </a:pPr>
            <a:r>
              <a:rPr lang="en-US" b="1" dirty="0">
                <a:solidFill>
                  <a:schemeClr val="tx2"/>
                </a:solidFill>
              </a:rPr>
              <a:t>RESULTS OBTAINED</a:t>
            </a:r>
          </a:p>
          <a:p>
            <a:pPr>
              <a:lnSpc>
                <a:spcPct val="300000"/>
              </a:lnSpc>
            </a:pPr>
            <a:r>
              <a:rPr lang="en-US" b="1" dirty="0">
                <a:solidFill>
                  <a:schemeClr val="tx2"/>
                </a:solidFill>
              </a:rPr>
              <a:t>CUSTOMER PROFILES</a:t>
            </a:r>
          </a:p>
          <a:p>
            <a:pPr>
              <a:lnSpc>
                <a:spcPct val="300000"/>
              </a:lnSpc>
            </a:pPr>
            <a:r>
              <a:rPr lang="en-US" b="1" dirty="0">
                <a:solidFill>
                  <a:schemeClr val="tx2"/>
                </a:solidFill>
              </a:rPr>
              <a:t>DEPLOYMEN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F534D-A831-BF4D-B321-151FCE1C1C77}"/>
              </a:ext>
            </a:extLst>
          </p:cNvPr>
          <p:cNvSpPr/>
          <p:nvPr/>
        </p:nvSpPr>
        <p:spPr>
          <a:xfrm>
            <a:off x="703639" y="2227810"/>
            <a:ext cx="556953" cy="55695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C70C749-C3C8-764C-A489-7F64096B8D1A}"/>
              </a:ext>
            </a:extLst>
          </p:cNvPr>
          <p:cNvSpPr/>
          <p:nvPr/>
        </p:nvSpPr>
        <p:spPr>
          <a:xfrm>
            <a:off x="703639" y="3047999"/>
            <a:ext cx="556953" cy="55695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546FF8D-5951-504F-8101-8544A4A354F1}"/>
              </a:ext>
            </a:extLst>
          </p:cNvPr>
          <p:cNvSpPr/>
          <p:nvPr/>
        </p:nvSpPr>
        <p:spPr>
          <a:xfrm>
            <a:off x="703639" y="3868188"/>
            <a:ext cx="556953" cy="55695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F0EC82-3D23-0343-A382-15524CB84AEA}"/>
              </a:ext>
            </a:extLst>
          </p:cNvPr>
          <p:cNvSpPr/>
          <p:nvPr/>
        </p:nvSpPr>
        <p:spPr>
          <a:xfrm>
            <a:off x="703639" y="4688376"/>
            <a:ext cx="556953" cy="55695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96948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767F2-C6EE-4644-9555-55567824C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E935CE-2452-A541-AB13-114D03968C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4" y="349152"/>
            <a:ext cx="9576720" cy="748010"/>
          </a:xfrm>
        </p:spPr>
        <p:txBody>
          <a:bodyPr/>
          <a:lstStyle/>
          <a:p>
            <a:r>
              <a:rPr lang="en-US" sz="2800" b="0" dirty="0">
                <a:solidFill>
                  <a:schemeClr val="tx2"/>
                </a:solidFill>
              </a:rPr>
              <a:t>THE KEYS IN UNDERSTANDING CUSTOMERS IS TO UNDERLINING IN HOW WELL WE ANALYSE THEIR DATA</a:t>
            </a: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C9F8B143-EF99-A74F-9BB1-7A276685C744}"/>
              </a:ext>
            </a:extLst>
          </p:cNvPr>
          <p:cNvSpPr/>
          <p:nvPr/>
        </p:nvSpPr>
        <p:spPr>
          <a:xfrm rot="16200000">
            <a:off x="11292000" y="-10520"/>
            <a:ext cx="900000" cy="900000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414886-CF41-B447-A430-063CB7B7C39E}"/>
              </a:ext>
            </a:extLst>
          </p:cNvPr>
          <p:cNvSpPr txBox="1"/>
          <p:nvPr/>
        </p:nvSpPr>
        <p:spPr>
          <a:xfrm>
            <a:off x="11802772" y="105482"/>
            <a:ext cx="333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06B8A9A-10A0-412D-B4B3-229B8A91CEC0}"/>
              </a:ext>
            </a:extLst>
          </p:cNvPr>
          <p:cNvSpPr txBox="1">
            <a:spLocks/>
          </p:cNvSpPr>
          <p:nvPr/>
        </p:nvSpPr>
        <p:spPr>
          <a:xfrm>
            <a:off x="695324" y="4552950"/>
            <a:ext cx="10801350" cy="13446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0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6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59B26BE-25EB-4964-90DB-0573023F4A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7454604"/>
              </p:ext>
            </p:extLst>
          </p:nvPr>
        </p:nvGraphicFramePr>
        <p:xfrm>
          <a:off x="1066800" y="1436887"/>
          <a:ext cx="8762999" cy="45951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884664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0F77D7-121E-43DD-B28A-BBE2BA2B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FB7E58-18AE-4179-B44B-D28FB3CF73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5" y="474814"/>
            <a:ext cx="10801350" cy="469749"/>
          </a:xfrm>
        </p:spPr>
        <p:txBody>
          <a:bodyPr/>
          <a:lstStyle/>
          <a:p>
            <a:r>
              <a:rPr lang="en-US" sz="3200" b="0" dirty="0">
                <a:solidFill>
                  <a:schemeClr val="tx2"/>
                </a:solidFill>
              </a:rPr>
              <a:t>RESULTS OBTAINED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014FCFE-2D4F-4DD3-A86F-FA1708592C6F}"/>
              </a:ext>
            </a:extLst>
          </p:cNvPr>
          <p:cNvGrpSpPr/>
          <p:nvPr/>
        </p:nvGrpSpPr>
        <p:grpSpPr>
          <a:xfrm>
            <a:off x="0" y="6934982"/>
            <a:ext cx="2660097" cy="248943"/>
            <a:chOff x="3224661" y="3280391"/>
            <a:chExt cx="2660097" cy="248943"/>
          </a:xfrm>
        </p:grpSpPr>
        <p:pic>
          <p:nvPicPr>
            <p:cNvPr id="102" name="Graphic 101" descr="Bottle">
              <a:extLst>
                <a:ext uri="{FF2B5EF4-FFF2-40B4-BE49-F238E27FC236}">
                  <a16:creationId xmlns:a16="http://schemas.microsoft.com/office/drawing/2014/main" id="{3F5F8F1E-3666-4745-A5AA-0EF58197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351419" y="3329468"/>
              <a:ext cx="147057" cy="147057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EC12187-7766-4576-950A-628AF649BC9B}"/>
                </a:ext>
              </a:extLst>
            </p:cNvPr>
            <p:cNvSpPr txBox="1"/>
            <p:nvPr/>
          </p:nvSpPr>
          <p:spPr>
            <a:xfrm>
              <a:off x="3224661" y="3283113"/>
              <a:ext cx="32332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US" sz="100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4757219-A051-4420-ADBD-6D0188B065CD}"/>
                </a:ext>
              </a:extLst>
            </p:cNvPr>
            <p:cNvSpPr txBox="1"/>
            <p:nvPr/>
          </p:nvSpPr>
          <p:spPr>
            <a:xfrm>
              <a:off x="3394600" y="3280391"/>
              <a:ext cx="2490158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>
                  <a:solidFill>
                    <a:schemeClr val="tx1"/>
                  </a:solidFill>
                </a:rPr>
                <a:t>~ 10% in total wine purchases</a:t>
              </a:r>
              <a:endParaRPr lang="en-US" sz="1000"/>
            </a:p>
          </p:txBody>
        </p:sp>
      </p:grpSp>
      <p:sp>
        <p:nvSpPr>
          <p:cNvPr id="323" name="Freeform 6">
            <a:extLst>
              <a:ext uri="{FF2B5EF4-FFF2-40B4-BE49-F238E27FC236}">
                <a16:creationId xmlns:a16="http://schemas.microsoft.com/office/drawing/2014/main" id="{FCFACE08-6CE6-468A-B125-EAA37FA1A9D6}"/>
              </a:ext>
            </a:extLst>
          </p:cNvPr>
          <p:cNvSpPr>
            <a:spLocks/>
          </p:cNvSpPr>
          <p:nvPr/>
        </p:nvSpPr>
        <p:spPr bwMode="auto">
          <a:xfrm>
            <a:off x="622096" y="1222153"/>
            <a:ext cx="578528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5B660677-4DB5-4D6C-99B7-DB064CD07FB9}"/>
              </a:ext>
            </a:extLst>
          </p:cNvPr>
          <p:cNvSpPr/>
          <p:nvPr/>
        </p:nvSpPr>
        <p:spPr>
          <a:xfrm>
            <a:off x="797168" y="1339650"/>
            <a:ext cx="3173400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25" name="Freeform 5">
            <a:extLst>
              <a:ext uri="{FF2B5EF4-FFF2-40B4-BE49-F238E27FC236}">
                <a16:creationId xmlns:a16="http://schemas.microsoft.com/office/drawing/2014/main" id="{69A13962-02C9-4304-BE22-12A13F22057C}"/>
              </a:ext>
            </a:extLst>
          </p:cNvPr>
          <p:cNvSpPr>
            <a:spLocks/>
          </p:cNvSpPr>
          <p:nvPr/>
        </p:nvSpPr>
        <p:spPr bwMode="auto">
          <a:xfrm>
            <a:off x="2484639" y="1082047"/>
            <a:ext cx="407291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26" name="Freeform 7">
            <a:extLst>
              <a:ext uri="{FF2B5EF4-FFF2-40B4-BE49-F238E27FC236}">
                <a16:creationId xmlns:a16="http://schemas.microsoft.com/office/drawing/2014/main" id="{414A5EFF-FF7B-486F-AFDF-6066ABDE32EE}"/>
              </a:ext>
            </a:extLst>
          </p:cNvPr>
          <p:cNvSpPr>
            <a:spLocks/>
          </p:cNvSpPr>
          <p:nvPr/>
        </p:nvSpPr>
        <p:spPr bwMode="auto">
          <a:xfrm>
            <a:off x="622095" y="1222403"/>
            <a:ext cx="1981005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19" name="Oval 318">
            <a:extLst>
              <a:ext uri="{FF2B5EF4-FFF2-40B4-BE49-F238E27FC236}">
                <a16:creationId xmlns:a16="http://schemas.microsoft.com/office/drawing/2014/main" id="{8A409296-9E69-405C-8A5E-A0B33E6C0145}"/>
              </a:ext>
            </a:extLst>
          </p:cNvPr>
          <p:cNvSpPr/>
          <p:nvPr/>
        </p:nvSpPr>
        <p:spPr>
          <a:xfrm>
            <a:off x="797168" y="1279081"/>
            <a:ext cx="407291" cy="35569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12CA2C6E-DD8F-44CC-BABB-16ED273908FF}"/>
              </a:ext>
            </a:extLst>
          </p:cNvPr>
          <p:cNvSpPr txBox="1"/>
          <p:nvPr/>
        </p:nvSpPr>
        <p:spPr>
          <a:xfrm>
            <a:off x="1300260" y="1303131"/>
            <a:ext cx="1451993" cy="3075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Identifiable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73F02938-0560-4999-ACBB-07ED1B84CFA7}"/>
              </a:ext>
            </a:extLst>
          </p:cNvPr>
          <p:cNvSpPr txBox="1"/>
          <p:nvPr/>
        </p:nvSpPr>
        <p:spPr>
          <a:xfrm>
            <a:off x="793331" y="1772000"/>
            <a:ext cx="32018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The customers in each cluster are well distinguished by their key features</a:t>
            </a:r>
          </a:p>
        </p:txBody>
      </p:sp>
      <p:sp>
        <p:nvSpPr>
          <p:cNvPr id="333" name="Freeform 6">
            <a:extLst>
              <a:ext uri="{FF2B5EF4-FFF2-40B4-BE49-F238E27FC236}">
                <a16:creationId xmlns:a16="http://schemas.microsoft.com/office/drawing/2014/main" id="{415FE87D-A04E-4D31-82AD-94E007BBBDBA}"/>
              </a:ext>
            </a:extLst>
          </p:cNvPr>
          <p:cNvSpPr>
            <a:spLocks/>
          </p:cNvSpPr>
          <p:nvPr/>
        </p:nvSpPr>
        <p:spPr bwMode="auto">
          <a:xfrm>
            <a:off x="4116731" y="1231206"/>
            <a:ext cx="578528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0BED198-BB5B-4D69-9824-264D32BCCBFE}"/>
              </a:ext>
            </a:extLst>
          </p:cNvPr>
          <p:cNvSpPr/>
          <p:nvPr/>
        </p:nvSpPr>
        <p:spPr>
          <a:xfrm>
            <a:off x="4291803" y="1348703"/>
            <a:ext cx="3220506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35" name="Freeform 5">
            <a:extLst>
              <a:ext uri="{FF2B5EF4-FFF2-40B4-BE49-F238E27FC236}">
                <a16:creationId xmlns:a16="http://schemas.microsoft.com/office/drawing/2014/main" id="{85E202A9-1164-4CBE-8B3B-D94054DAC4ED}"/>
              </a:ext>
            </a:extLst>
          </p:cNvPr>
          <p:cNvSpPr>
            <a:spLocks/>
          </p:cNvSpPr>
          <p:nvPr/>
        </p:nvSpPr>
        <p:spPr bwMode="auto">
          <a:xfrm>
            <a:off x="5979274" y="1091100"/>
            <a:ext cx="407291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36" name="Freeform 7">
            <a:extLst>
              <a:ext uri="{FF2B5EF4-FFF2-40B4-BE49-F238E27FC236}">
                <a16:creationId xmlns:a16="http://schemas.microsoft.com/office/drawing/2014/main" id="{8270AFAD-0235-4F5F-82FE-3D32E96C497A}"/>
              </a:ext>
            </a:extLst>
          </p:cNvPr>
          <p:cNvSpPr>
            <a:spLocks/>
          </p:cNvSpPr>
          <p:nvPr/>
        </p:nvSpPr>
        <p:spPr bwMode="auto">
          <a:xfrm>
            <a:off x="4116730" y="1231456"/>
            <a:ext cx="1947829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30" name="Oval 329">
            <a:extLst>
              <a:ext uri="{FF2B5EF4-FFF2-40B4-BE49-F238E27FC236}">
                <a16:creationId xmlns:a16="http://schemas.microsoft.com/office/drawing/2014/main" id="{992798A0-D99F-43F5-987D-7808CDE91AE9}"/>
              </a:ext>
            </a:extLst>
          </p:cNvPr>
          <p:cNvSpPr/>
          <p:nvPr/>
        </p:nvSpPr>
        <p:spPr>
          <a:xfrm>
            <a:off x="4291803" y="1288134"/>
            <a:ext cx="407291" cy="37020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D18A8A14-5410-4C7E-A261-41E97D176625}"/>
              </a:ext>
            </a:extLst>
          </p:cNvPr>
          <p:cNvSpPr txBox="1"/>
          <p:nvPr/>
        </p:nvSpPr>
        <p:spPr>
          <a:xfrm>
            <a:off x="4794895" y="1312184"/>
            <a:ext cx="1085320" cy="30758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Substantial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C2113C9C-0CAE-4CA2-B7E0-148DB902A4C8}"/>
              </a:ext>
            </a:extLst>
          </p:cNvPr>
          <p:cNvSpPr txBox="1"/>
          <p:nvPr/>
        </p:nvSpPr>
        <p:spPr>
          <a:xfrm>
            <a:off x="4304775" y="1811539"/>
            <a:ext cx="264347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All clusters have considerably good sizes</a:t>
            </a:r>
          </a:p>
        </p:txBody>
      </p:sp>
      <p:sp>
        <p:nvSpPr>
          <p:cNvPr id="343" name="Freeform 6">
            <a:extLst>
              <a:ext uri="{FF2B5EF4-FFF2-40B4-BE49-F238E27FC236}">
                <a16:creationId xmlns:a16="http://schemas.microsoft.com/office/drawing/2014/main" id="{5C74FD47-F5B5-432C-8A13-16593E2E60C9}"/>
              </a:ext>
            </a:extLst>
          </p:cNvPr>
          <p:cNvSpPr>
            <a:spLocks/>
          </p:cNvSpPr>
          <p:nvPr/>
        </p:nvSpPr>
        <p:spPr bwMode="auto">
          <a:xfrm>
            <a:off x="7611368" y="1222153"/>
            <a:ext cx="578528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EF95D049-9507-4E43-942B-8D72E51A3B09}"/>
              </a:ext>
            </a:extLst>
          </p:cNvPr>
          <p:cNvSpPr/>
          <p:nvPr/>
        </p:nvSpPr>
        <p:spPr>
          <a:xfrm>
            <a:off x="7786440" y="1339650"/>
            <a:ext cx="3608392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45" name="Freeform 5">
            <a:extLst>
              <a:ext uri="{FF2B5EF4-FFF2-40B4-BE49-F238E27FC236}">
                <a16:creationId xmlns:a16="http://schemas.microsoft.com/office/drawing/2014/main" id="{6D426E60-9F92-454C-8548-8809850F670C}"/>
              </a:ext>
            </a:extLst>
          </p:cNvPr>
          <p:cNvSpPr>
            <a:spLocks/>
          </p:cNvSpPr>
          <p:nvPr/>
        </p:nvSpPr>
        <p:spPr bwMode="auto">
          <a:xfrm>
            <a:off x="9473911" y="1082047"/>
            <a:ext cx="407291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46" name="Freeform 7">
            <a:extLst>
              <a:ext uri="{FF2B5EF4-FFF2-40B4-BE49-F238E27FC236}">
                <a16:creationId xmlns:a16="http://schemas.microsoft.com/office/drawing/2014/main" id="{7379663D-8BF6-421B-85EA-174C122E81B6}"/>
              </a:ext>
            </a:extLst>
          </p:cNvPr>
          <p:cNvSpPr>
            <a:spLocks/>
          </p:cNvSpPr>
          <p:nvPr/>
        </p:nvSpPr>
        <p:spPr bwMode="auto">
          <a:xfrm>
            <a:off x="7611367" y="1227166"/>
            <a:ext cx="1940879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F98C6382-8C36-4FC8-8091-5BBF72E18236}"/>
              </a:ext>
            </a:extLst>
          </p:cNvPr>
          <p:cNvSpPr/>
          <p:nvPr/>
        </p:nvSpPr>
        <p:spPr>
          <a:xfrm>
            <a:off x="7786440" y="1279081"/>
            <a:ext cx="407291" cy="35569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FF65D98C-B9FB-48DB-BFE9-757081D1E424}"/>
              </a:ext>
            </a:extLst>
          </p:cNvPr>
          <p:cNvSpPr txBox="1"/>
          <p:nvPr/>
        </p:nvSpPr>
        <p:spPr>
          <a:xfrm>
            <a:off x="8289533" y="1303131"/>
            <a:ext cx="1104700" cy="307589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Accessible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713317D1-2E55-40C3-907B-C0FFA6B9E175}"/>
              </a:ext>
            </a:extLst>
          </p:cNvPr>
          <p:cNvSpPr txBox="1"/>
          <p:nvPr/>
        </p:nvSpPr>
        <p:spPr>
          <a:xfrm>
            <a:off x="7817967" y="1814598"/>
            <a:ext cx="347170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Each clusters have their favorite communication channel</a:t>
            </a:r>
          </a:p>
        </p:txBody>
      </p:sp>
      <p:sp>
        <p:nvSpPr>
          <p:cNvPr id="353" name="Freeform 6">
            <a:extLst>
              <a:ext uri="{FF2B5EF4-FFF2-40B4-BE49-F238E27FC236}">
                <a16:creationId xmlns:a16="http://schemas.microsoft.com/office/drawing/2014/main" id="{FB28E7EE-7135-4F24-AAC8-0D2F01734021}"/>
              </a:ext>
            </a:extLst>
          </p:cNvPr>
          <p:cNvSpPr>
            <a:spLocks/>
          </p:cNvSpPr>
          <p:nvPr/>
        </p:nvSpPr>
        <p:spPr bwMode="auto">
          <a:xfrm>
            <a:off x="622096" y="3996882"/>
            <a:ext cx="578528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571789F-DCBD-4F05-A4A1-378F86BF22C5}"/>
              </a:ext>
            </a:extLst>
          </p:cNvPr>
          <p:cNvSpPr/>
          <p:nvPr/>
        </p:nvSpPr>
        <p:spPr>
          <a:xfrm>
            <a:off x="797168" y="4114379"/>
            <a:ext cx="3173400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55" name="Freeform 5">
            <a:extLst>
              <a:ext uri="{FF2B5EF4-FFF2-40B4-BE49-F238E27FC236}">
                <a16:creationId xmlns:a16="http://schemas.microsoft.com/office/drawing/2014/main" id="{A29C3FAF-6752-4833-BCFA-2459B1AE77AF}"/>
              </a:ext>
            </a:extLst>
          </p:cNvPr>
          <p:cNvSpPr>
            <a:spLocks/>
          </p:cNvSpPr>
          <p:nvPr/>
        </p:nvSpPr>
        <p:spPr bwMode="auto">
          <a:xfrm>
            <a:off x="2484639" y="3856776"/>
            <a:ext cx="407291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56" name="Freeform 7">
            <a:extLst>
              <a:ext uri="{FF2B5EF4-FFF2-40B4-BE49-F238E27FC236}">
                <a16:creationId xmlns:a16="http://schemas.microsoft.com/office/drawing/2014/main" id="{95F00F09-E0DC-4B30-BCC3-895515528B21}"/>
              </a:ext>
            </a:extLst>
          </p:cNvPr>
          <p:cNvSpPr>
            <a:spLocks/>
          </p:cNvSpPr>
          <p:nvPr/>
        </p:nvSpPr>
        <p:spPr bwMode="auto">
          <a:xfrm>
            <a:off x="622095" y="3992842"/>
            <a:ext cx="1942401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1F7D0955-0B2C-47EE-9627-775E6E6A4948}"/>
              </a:ext>
            </a:extLst>
          </p:cNvPr>
          <p:cNvSpPr/>
          <p:nvPr/>
        </p:nvSpPr>
        <p:spPr>
          <a:xfrm>
            <a:off x="797168" y="4053810"/>
            <a:ext cx="407291" cy="35569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50EB6D0B-C303-4E18-BBF7-FD3667BC5028}"/>
              </a:ext>
            </a:extLst>
          </p:cNvPr>
          <p:cNvSpPr txBox="1"/>
          <p:nvPr/>
        </p:nvSpPr>
        <p:spPr>
          <a:xfrm>
            <a:off x="1300260" y="4077860"/>
            <a:ext cx="1451993" cy="3075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Stable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B8EAC322-6A65-432B-9C7B-27985F43E1F4}"/>
              </a:ext>
            </a:extLst>
          </p:cNvPr>
          <p:cNvSpPr txBox="1"/>
          <p:nvPr/>
        </p:nvSpPr>
        <p:spPr>
          <a:xfrm>
            <a:off x="800425" y="4553115"/>
            <a:ext cx="30654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just">
              <a:buClr>
                <a:schemeClr val="tx2"/>
              </a:buClr>
              <a:defRPr sz="1000"/>
            </a:lvl1pPr>
          </a:lstStyle>
          <a:p>
            <a:r>
              <a:rPr lang="en-US" dirty="0"/>
              <a:t>The features used for clustering are consistent and concise by definition through time.</a:t>
            </a:r>
          </a:p>
        </p:txBody>
      </p:sp>
      <p:sp>
        <p:nvSpPr>
          <p:cNvPr id="363" name="Freeform 6">
            <a:extLst>
              <a:ext uri="{FF2B5EF4-FFF2-40B4-BE49-F238E27FC236}">
                <a16:creationId xmlns:a16="http://schemas.microsoft.com/office/drawing/2014/main" id="{B0F4A7DB-8EBB-4B24-9F30-1B97ABAF4EB2}"/>
              </a:ext>
            </a:extLst>
          </p:cNvPr>
          <p:cNvSpPr>
            <a:spLocks/>
          </p:cNvSpPr>
          <p:nvPr/>
        </p:nvSpPr>
        <p:spPr bwMode="auto">
          <a:xfrm>
            <a:off x="4142025" y="3987829"/>
            <a:ext cx="554982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71EA74DD-1C3F-402F-843F-EAC9F9AE2145}"/>
              </a:ext>
            </a:extLst>
          </p:cNvPr>
          <p:cNvSpPr/>
          <p:nvPr/>
        </p:nvSpPr>
        <p:spPr>
          <a:xfrm>
            <a:off x="4309973" y="4105326"/>
            <a:ext cx="3202335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65" name="Freeform 5">
            <a:extLst>
              <a:ext uri="{FF2B5EF4-FFF2-40B4-BE49-F238E27FC236}">
                <a16:creationId xmlns:a16="http://schemas.microsoft.com/office/drawing/2014/main" id="{CC558635-BDA4-4D0F-A3BB-F23AFBA24C16}"/>
              </a:ext>
            </a:extLst>
          </p:cNvPr>
          <p:cNvSpPr>
            <a:spLocks/>
          </p:cNvSpPr>
          <p:nvPr/>
        </p:nvSpPr>
        <p:spPr bwMode="auto">
          <a:xfrm>
            <a:off x="6064559" y="3847723"/>
            <a:ext cx="390714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66" name="Freeform 7">
            <a:extLst>
              <a:ext uri="{FF2B5EF4-FFF2-40B4-BE49-F238E27FC236}">
                <a16:creationId xmlns:a16="http://schemas.microsoft.com/office/drawing/2014/main" id="{024469FB-668D-4DA9-A823-1692C29388D2}"/>
              </a:ext>
            </a:extLst>
          </p:cNvPr>
          <p:cNvSpPr>
            <a:spLocks/>
          </p:cNvSpPr>
          <p:nvPr/>
        </p:nvSpPr>
        <p:spPr bwMode="auto">
          <a:xfrm>
            <a:off x="4142024" y="3983789"/>
            <a:ext cx="1952455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25B6861B-1817-4781-8C08-7BFBEB9DF4A1}"/>
              </a:ext>
            </a:extLst>
          </p:cNvPr>
          <p:cNvSpPr/>
          <p:nvPr/>
        </p:nvSpPr>
        <p:spPr>
          <a:xfrm>
            <a:off x="4309973" y="4044757"/>
            <a:ext cx="390714" cy="35569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64D06998-77B6-40A8-92B7-E50FAE81307A}"/>
              </a:ext>
            </a:extLst>
          </p:cNvPr>
          <p:cNvSpPr txBox="1"/>
          <p:nvPr/>
        </p:nvSpPr>
        <p:spPr>
          <a:xfrm>
            <a:off x="4792589" y="4068807"/>
            <a:ext cx="1392898" cy="3075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Differentiable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CBC3D132-1022-4A19-980B-B13FE06AF9FB}"/>
              </a:ext>
            </a:extLst>
          </p:cNvPr>
          <p:cNvSpPr txBox="1"/>
          <p:nvPr/>
        </p:nvSpPr>
        <p:spPr>
          <a:xfrm>
            <a:off x="4379573" y="4531952"/>
            <a:ext cx="310210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The customers in a cluster have similar characteristics that are clearly different from the ones of other people in other clusters.</a:t>
            </a:r>
          </a:p>
        </p:txBody>
      </p:sp>
      <p:sp>
        <p:nvSpPr>
          <p:cNvPr id="373" name="Freeform 6">
            <a:extLst>
              <a:ext uri="{FF2B5EF4-FFF2-40B4-BE49-F238E27FC236}">
                <a16:creationId xmlns:a16="http://schemas.microsoft.com/office/drawing/2014/main" id="{5787A5CA-24B3-452F-93E4-86B3670ED6E9}"/>
              </a:ext>
            </a:extLst>
          </p:cNvPr>
          <p:cNvSpPr>
            <a:spLocks/>
          </p:cNvSpPr>
          <p:nvPr/>
        </p:nvSpPr>
        <p:spPr bwMode="auto">
          <a:xfrm>
            <a:off x="7608111" y="3996882"/>
            <a:ext cx="578528" cy="592445"/>
          </a:xfrm>
          <a:custGeom>
            <a:avLst/>
            <a:gdLst>
              <a:gd name="T0" fmla="*/ 153 w 213"/>
              <a:gd name="T1" fmla="*/ 250 h 250"/>
              <a:gd name="T2" fmla="*/ 213 w 213"/>
              <a:gd name="T3" fmla="*/ 183 h 250"/>
              <a:gd name="T4" fmla="*/ 213 w 213"/>
              <a:gd name="T5" fmla="*/ 4 h 250"/>
              <a:gd name="T6" fmla="*/ 60 w 213"/>
              <a:gd name="T7" fmla="*/ 4 h 250"/>
              <a:gd name="T8" fmla="*/ 0 w 213"/>
              <a:gd name="T9" fmla="*/ 72 h 250"/>
              <a:gd name="T10" fmla="*/ 0 w 213"/>
              <a:gd name="T11" fmla="*/ 250 h 250"/>
              <a:gd name="T12" fmla="*/ 8 w 213"/>
              <a:gd name="T13" fmla="*/ 250 h 250"/>
              <a:gd name="T14" fmla="*/ 153 w 213"/>
              <a:gd name="T15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3" h="250">
                <a:moveTo>
                  <a:pt x="153" y="250"/>
                </a:moveTo>
                <a:cubicBezTo>
                  <a:pt x="186" y="250"/>
                  <a:pt x="213" y="225"/>
                  <a:pt x="213" y="183"/>
                </a:cubicBezTo>
                <a:cubicBezTo>
                  <a:pt x="213" y="4"/>
                  <a:pt x="213" y="4"/>
                  <a:pt x="213" y="4"/>
                </a:cubicBezTo>
                <a:cubicBezTo>
                  <a:pt x="162" y="4"/>
                  <a:pt x="113" y="0"/>
                  <a:pt x="60" y="4"/>
                </a:cubicBezTo>
                <a:cubicBezTo>
                  <a:pt x="17" y="7"/>
                  <a:pt x="0" y="41"/>
                  <a:pt x="0" y="72"/>
                </a:cubicBezTo>
                <a:cubicBezTo>
                  <a:pt x="0" y="250"/>
                  <a:pt x="0" y="250"/>
                  <a:pt x="0" y="250"/>
                </a:cubicBezTo>
                <a:cubicBezTo>
                  <a:pt x="8" y="250"/>
                  <a:pt x="8" y="250"/>
                  <a:pt x="8" y="250"/>
                </a:cubicBezTo>
                <a:lnTo>
                  <a:pt x="153" y="250"/>
                </a:lnTo>
                <a:close/>
              </a:path>
            </a:pathLst>
          </a:custGeom>
          <a:solidFill>
            <a:schemeClr val="bg2">
              <a:lumMod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74" name="Rectangle 373">
            <a:extLst>
              <a:ext uri="{FF2B5EF4-FFF2-40B4-BE49-F238E27FC236}">
                <a16:creationId xmlns:a16="http://schemas.microsoft.com/office/drawing/2014/main" id="{D856A1DF-916C-4E0A-B84B-3A6CC3982B68}"/>
              </a:ext>
            </a:extLst>
          </p:cNvPr>
          <p:cNvSpPr/>
          <p:nvPr/>
        </p:nvSpPr>
        <p:spPr>
          <a:xfrm>
            <a:off x="7783183" y="4114379"/>
            <a:ext cx="3608392" cy="2444702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</a:endParaRPr>
          </a:p>
        </p:txBody>
      </p:sp>
      <p:sp>
        <p:nvSpPr>
          <p:cNvPr id="375" name="Freeform 5">
            <a:extLst>
              <a:ext uri="{FF2B5EF4-FFF2-40B4-BE49-F238E27FC236}">
                <a16:creationId xmlns:a16="http://schemas.microsoft.com/office/drawing/2014/main" id="{1736C599-5C25-4C2F-925A-201E8A1A2479}"/>
              </a:ext>
            </a:extLst>
          </p:cNvPr>
          <p:cNvSpPr>
            <a:spLocks/>
          </p:cNvSpPr>
          <p:nvPr/>
        </p:nvSpPr>
        <p:spPr bwMode="auto">
          <a:xfrm>
            <a:off x="9470654" y="3856776"/>
            <a:ext cx="407291" cy="734792"/>
          </a:xfrm>
          <a:custGeom>
            <a:avLst/>
            <a:gdLst>
              <a:gd name="T0" fmla="*/ 215 w 215"/>
              <a:gd name="T1" fmla="*/ 367 h 733"/>
              <a:gd name="T2" fmla="*/ 0 w 215"/>
              <a:gd name="T3" fmla="*/ 733 h 733"/>
              <a:gd name="T4" fmla="*/ 0 w 215"/>
              <a:gd name="T5" fmla="*/ 0 h 733"/>
              <a:gd name="T6" fmla="*/ 215 w 215"/>
              <a:gd name="T7" fmla="*/ 36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" h="733">
                <a:moveTo>
                  <a:pt x="215" y="367"/>
                </a:moveTo>
                <a:lnTo>
                  <a:pt x="0" y="733"/>
                </a:lnTo>
                <a:lnTo>
                  <a:pt x="0" y="0"/>
                </a:lnTo>
                <a:lnTo>
                  <a:pt x="215" y="3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76" name="Freeform 7">
            <a:extLst>
              <a:ext uri="{FF2B5EF4-FFF2-40B4-BE49-F238E27FC236}">
                <a16:creationId xmlns:a16="http://schemas.microsoft.com/office/drawing/2014/main" id="{3BE2C991-AA78-4AFA-AE23-325AC963F2EA}"/>
              </a:ext>
            </a:extLst>
          </p:cNvPr>
          <p:cNvSpPr>
            <a:spLocks/>
          </p:cNvSpPr>
          <p:nvPr/>
        </p:nvSpPr>
        <p:spPr bwMode="auto">
          <a:xfrm>
            <a:off x="7608110" y="4001895"/>
            <a:ext cx="1940879" cy="587433"/>
          </a:xfrm>
          <a:custGeom>
            <a:avLst/>
            <a:gdLst>
              <a:gd name="T0" fmla="*/ 1965 w 1965"/>
              <a:gd name="T1" fmla="*/ 195 h 248"/>
              <a:gd name="T2" fmla="*/ 97 w 1965"/>
              <a:gd name="T3" fmla="*/ 195 h 248"/>
              <a:gd name="T4" fmla="*/ 0 w 1965"/>
              <a:gd name="T5" fmla="*/ 248 h 248"/>
              <a:gd name="T6" fmla="*/ 0 w 1965"/>
              <a:gd name="T7" fmla="*/ 61 h 248"/>
              <a:gd name="T8" fmla="*/ 68 w 1965"/>
              <a:gd name="T9" fmla="*/ 0 h 248"/>
              <a:gd name="T10" fmla="*/ 1965 w 1965"/>
              <a:gd name="T11" fmla="*/ 0 h 248"/>
              <a:gd name="T12" fmla="*/ 1965 w 1965"/>
              <a:gd name="T13" fmla="*/ 195 h 248"/>
              <a:gd name="connsiteX0" fmla="*/ 10000 w 10000"/>
              <a:gd name="connsiteY0" fmla="*/ 7863 h 10000"/>
              <a:gd name="connsiteX1" fmla="*/ 494 w 10000"/>
              <a:gd name="connsiteY1" fmla="*/ 7863 h 10000"/>
              <a:gd name="connsiteX2" fmla="*/ 0 w 10000"/>
              <a:gd name="connsiteY2" fmla="*/ 10000 h 10000"/>
              <a:gd name="connsiteX3" fmla="*/ 0 w 10000"/>
              <a:gd name="connsiteY3" fmla="*/ 2460 h 10000"/>
              <a:gd name="connsiteX4" fmla="*/ 346 w 10000"/>
              <a:gd name="connsiteY4" fmla="*/ 0 h 10000"/>
              <a:gd name="connsiteX5" fmla="*/ 3112 w 10000"/>
              <a:gd name="connsiteY5" fmla="*/ 3 h 10000"/>
              <a:gd name="connsiteX6" fmla="*/ 10000 w 10000"/>
              <a:gd name="connsiteY6" fmla="*/ 0 h 10000"/>
              <a:gd name="connsiteX7" fmla="*/ 10000 w 10000"/>
              <a:gd name="connsiteY7" fmla="*/ 7863 h 10000"/>
              <a:gd name="connsiteX0" fmla="*/ 10000 w 10000"/>
              <a:gd name="connsiteY0" fmla="*/ 7863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8" fmla="*/ 10000 w 10000"/>
              <a:gd name="connsiteY8" fmla="*/ 7863 h 10000"/>
              <a:gd name="connsiteX0" fmla="*/ 10000 w 10000"/>
              <a:gd name="connsiteY0" fmla="*/ 0 h 10000"/>
              <a:gd name="connsiteX1" fmla="*/ 3119 w 10000"/>
              <a:gd name="connsiteY1" fmla="*/ 7812 h 10000"/>
              <a:gd name="connsiteX2" fmla="*/ 494 w 10000"/>
              <a:gd name="connsiteY2" fmla="*/ 7863 h 10000"/>
              <a:gd name="connsiteX3" fmla="*/ 0 w 10000"/>
              <a:gd name="connsiteY3" fmla="*/ 10000 h 10000"/>
              <a:gd name="connsiteX4" fmla="*/ 0 w 10000"/>
              <a:gd name="connsiteY4" fmla="*/ 2460 h 10000"/>
              <a:gd name="connsiteX5" fmla="*/ 346 w 10000"/>
              <a:gd name="connsiteY5" fmla="*/ 0 h 10000"/>
              <a:gd name="connsiteX6" fmla="*/ 3112 w 10000"/>
              <a:gd name="connsiteY6" fmla="*/ 3 h 10000"/>
              <a:gd name="connsiteX7" fmla="*/ 10000 w 10000"/>
              <a:gd name="connsiteY7" fmla="*/ 0 h 10000"/>
              <a:gd name="connsiteX0" fmla="*/ 3112 w 3119"/>
              <a:gd name="connsiteY0" fmla="*/ 3 h 10000"/>
              <a:gd name="connsiteX1" fmla="*/ 3119 w 3119"/>
              <a:gd name="connsiteY1" fmla="*/ 7812 h 10000"/>
              <a:gd name="connsiteX2" fmla="*/ 494 w 3119"/>
              <a:gd name="connsiteY2" fmla="*/ 7863 h 10000"/>
              <a:gd name="connsiteX3" fmla="*/ 0 w 3119"/>
              <a:gd name="connsiteY3" fmla="*/ 10000 h 10000"/>
              <a:gd name="connsiteX4" fmla="*/ 0 w 3119"/>
              <a:gd name="connsiteY4" fmla="*/ 2460 h 10000"/>
              <a:gd name="connsiteX5" fmla="*/ 346 w 3119"/>
              <a:gd name="connsiteY5" fmla="*/ 0 h 10000"/>
              <a:gd name="connsiteX6" fmla="*/ 3112 w 3119"/>
              <a:gd name="connsiteY6" fmla="*/ 3 h 10000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1584 w 10000"/>
              <a:gd name="connsiteY2" fmla="*/ 7866 h 10003"/>
              <a:gd name="connsiteX3" fmla="*/ 0 w 10000"/>
              <a:gd name="connsiteY3" fmla="*/ 10003 h 10003"/>
              <a:gd name="connsiteX4" fmla="*/ 0 w 10000"/>
              <a:gd name="connsiteY4" fmla="*/ 2463 h 10003"/>
              <a:gd name="connsiteX5" fmla="*/ 1109 w 10000"/>
              <a:gd name="connsiteY5" fmla="*/ 3 h 10003"/>
              <a:gd name="connsiteX6" fmla="*/ 9232 w 10000"/>
              <a:gd name="connsiteY6" fmla="*/ 0 h 10003"/>
              <a:gd name="connsiteX7" fmla="*/ 9978 w 10000"/>
              <a:gd name="connsiteY7" fmla="*/ 6 h 10003"/>
              <a:gd name="connsiteX0" fmla="*/ 9978 w 10000"/>
              <a:gd name="connsiteY0" fmla="*/ 6 h 10003"/>
              <a:gd name="connsiteX1" fmla="*/ 10000 w 10000"/>
              <a:gd name="connsiteY1" fmla="*/ 7815 h 10003"/>
              <a:gd name="connsiteX2" fmla="*/ 9223 w 10000"/>
              <a:gd name="connsiteY2" fmla="*/ 7842 h 10003"/>
              <a:gd name="connsiteX3" fmla="*/ 1584 w 10000"/>
              <a:gd name="connsiteY3" fmla="*/ 7866 h 10003"/>
              <a:gd name="connsiteX4" fmla="*/ 0 w 10000"/>
              <a:gd name="connsiteY4" fmla="*/ 10003 h 10003"/>
              <a:gd name="connsiteX5" fmla="*/ 0 w 10000"/>
              <a:gd name="connsiteY5" fmla="*/ 2463 h 10003"/>
              <a:gd name="connsiteX6" fmla="*/ 1109 w 10000"/>
              <a:gd name="connsiteY6" fmla="*/ 3 h 10003"/>
              <a:gd name="connsiteX7" fmla="*/ 9232 w 10000"/>
              <a:gd name="connsiteY7" fmla="*/ 0 h 10003"/>
              <a:gd name="connsiteX8" fmla="*/ 9978 w 10000"/>
              <a:gd name="connsiteY8" fmla="*/ 6 h 10003"/>
              <a:gd name="connsiteX0" fmla="*/ 9978 w 10125"/>
              <a:gd name="connsiteY0" fmla="*/ 6 h 10003"/>
              <a:gd name="connsiteX1" fmla="*/ 9223 w 10125"/>
              <a:gd name="connsiteY1" fmla="*/ 7842 h 10003"/>
              <a:gd name="connsiteX2" fmla="*/ 1584 w 10125"/>
              <a:gd name="connsiteY2" fmla="*/ 7866 h 10003"/>
              <a:gd name="connsiteX3" fmla="*/ 0 w 10125"/>
              <a:gd name="connsiteY3" fmla="*/ 10003 h 10003"/>
              <a:gd name="connsiteX4" fmla="*/ 0 w 10125"/>
              <a:gd name="connsiteY4" fmla="*/ 2463 h 10003"/>
              <a:gd name="connsiteX5" fmla="*/ 1109 w 10125"/>
              <a:gd name="connsiteY5" fmla="*/ 3 h 10003"/>
              <a:gd name="connsiteX6" fmla="*/ 9232 w 10125"/>
              <a:gd name="connsiteY6" fmla="*/ 0 h 10003"/>
              <a:gd name="connsiteX7" fmla="*/ 9978 w 10125"/>
              <a:gd name="connsiteY7" fmla="*/ 6 h 10003"/>
              <a:gd name="connsiteX0" fmla="*/ 9232 w 9232"/>
              <a:gd name="connsiteY0" fmla="*/ 0 h 10003"/>
              <a:gd name="connsiteX1" fmla="*/ 9223 w 9232"/>
              <a:gd name="connsiteY1" fmla="*/ 7842 h 10003"/>
              <a:gd name="connsiteX2" fmla="*/ 1584 w 9232"/>
              <a:gd name="connsiteY2" fmla="*/ 7866 h 10003"/>
              <a:gd name="connsiteX3" fmla="*/ 0 w 9232"/>
              <a:gd name="connsiteY3" fmla="*/ 10003 h 10003"/>
              <a:gd name="connsiteX4" fmla="*/ 0 w 9232"/>
              <a:gd name="connsiteY4" fmla="*/ 2463 h 10003"/>
              <a:gd name="connsiteX5" fmla="*/ 1109 w 9232"/>
              <a:gd name="connsiteY5" fmla="*/ 3 h 10003"/>
              <a:gd name="connsiteX6" fmla="*/ 9232 w 9232"/>
              <a:gd name="connsiteY6" fmla="*/ 0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32" h="10003">
                <a:moveTo>
                  <a:pt x="9232" y="0"/>
                </a:moveTo>
                <a:lnTo>
                  <a:pt x="9223" y="7842"/>
                </a:lnTo>
                <a:lnTo>
                  <a:pt x="1584" y="7866"/>
                </a:lnTo>
                <a:cubicBezTo>
                  <a:pt x="718" y="7866"/>
                  <a:pt x="115" y="8471"/>
                  <a:pt x="0" y="10003"/>
                </a:cubicBezTo>
                <a:lnTo>
                  <a:pt x="0" y="2463"/>
                </a:lnTo>
                <a:cubicBezTo>
                  <a:pt x="0" y="1092"/>
                  <a:pt x="407" y="3"/>
                  <a:pt x="1109" y="3"/>
                </a:cubicBezTo>
                <a:lnTo>
                  <a:pt x="923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70" name="Oval 369">
            <a:extLst>
              <a:ext uri="{FF2B5EF4-FFF2-40B4-BE49-F238E27FC236}">
                <a16:creationId xmlns:a16="http://schemas.microsoft.com/office/drawing/2014/main" id="{8B38AE49-101C-4191-83CE-4FE6C46D8DB8}"/>
              </a:ext>
            </a:extLst>
          </p:cNvPr>
          <p:cNvSpPr/>
          <p:nvPr/>
        </p:nvSpPr>
        <p:spPr>
          <a:xfrm>
            <a:off x="7783183" y="4053810"/>
            <a:ext cx="407291" cy="35569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 dirty="0" err="1">
              <a:solidFill>
                <a:prstClr val="white"/>
              </a:solidFill>
              <a:latin typeface="Univers 45 Light" pitchFamily="2" charset="0"/>
            </a:endParaRP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0B5B1EC5-A5AC-4E5D-98DB-718E1AF616B7}"/>
              </a:ext>
            </a:extLst>
          </p:cNvPr>
          <p:cNvSpPr txBox="1"/>
          <p:nvPr/>
        </p:nvSpPr>
        <p:spPr>
          <a:xfrm>
            <a:off x="8286276" y="4077860"/>
            <a:ext cx="1121302" cy="30758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pt-BR" sz="1400" b="1" dirty="0">
                <a:solidFill>
                  <a:prstClr val="white"/>
                </a:solidFill>
                <a:latin typeface="+mj-lt"/>
              </a:rPr>
              <a:t>Actionable</a:t>
            </a: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FD874D63-09D9-432F-B5E2-0D4F1D0983D4}"/>
              </a:ext>
            </a:extLst>
          </p:cNvPr>
          <p:cNvSpPr txBox="1"/>
          <p:nvPr/>
        </p:nvSpPr>
        <p:spPr>
          <a:xfrm>
            <a:off x="7779569" y="4541005"/>
            <a:ext cx="354535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The defined clusters are able to be applied through an application that help business stakeholders easily access to the insights and action plan gained from the clustering analysis</a:t>
            </a:r>
          </a:p>
        </p:txBody>
      </p:sp>
      <p:pic>
        <p:nvPicPr>
          <p:cNvPr id="378" name="Picture 2">
            <a:extLst>
              <a:ext uri="{FF2B5EF4-FFF2-40B4-BE49-F238E27FC236}">
                <a16:creationId xmlns:a16="http://schemas.microsoft.com/office/drawing/2014/main" id="{00E1556E-F0C3-4B1D-AD7A-4CD98E7D1D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3489" y="2135650"/>
            <a:ext cx="1639275" cy="162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" name="Picture 378">
            <a:extLst>
              <a:ext uri="{FF2B5EF4-FFF2-40B4-BE49-F238E27FC236}">
                <a16:creationId xmlns:a16="http://schemas.microsoft.com/office/drawing/2014/main" id="{BB368620-E334-4184-B24C-B3890236F583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259" y="2188813"/>
            <a:ext cx="2155659" cy="1327663"/>
          </a:xfrm>
          <a:prstGeom prst="rect">
            <a:avLst/>
          </a:prstGeom>
        </p:spPr>
      </p:pic>
      <p:pic>
        <p:nvPicPr>
          <p:cNvPr id="380" name="Picture 379">
            <a:extLst>
              <a:ext uri="{FF2B5EF4-FFF2-40B4-BE49-F238E27FC236}">
                <a16:creationId xmlns:a16="http://schemas.microsoft.com/office/drawing/2014/main" id="{0E359251-F198-4C7B-81C6-DA242D54CBC5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8286275" y="5230785"/>
            <a:ext cx="2738836" cy="127285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7C2867A-5FDC-47AB-967E-D34B2C96E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0311" y="2180468"/>
            <a:ext cx="1541935" cy="135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E69888D-1187-41DC-AD93-E74800457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299" y="2193909"/>
            <a:ext cx="1551998" cy="1320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1" name="TextBox 380">
            <a:extLst>
              <a:ext uri="{FF2B5EF4-FFF2-40B4-BE49-F238E27FC236}">
                <a16:creationId xmlns:a16="http://schemas.microsoft.com/office/drawing/2014/main" id="{69A405BB-CAB0-4DD5-B872-3BE77C345F5D}"/>
              </a:ext>
            </a:extLst>
          </p:cNvPr>
          <p:cNvSpPr txBox="1"/>
          <p:nvPr/>
        </p:nvSpPr>
        <p:spPr>
          <a:xfrm>
            <a:off x="8286275" y="3507766"/>
            <a:ext cx="11257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Web purchases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52D619FE-37F4-445B-B520-F54316959E75}"/>
              </a:ext>
            </a:extLst>
          </p:cNvPr>
          <p:cNvSpPr txBox="1"/>
          <p:nvPr/>
        </p:nvSpPr>
        <p:spPr>
          <a:xfrm>
            <a:off x="9933035" y="3500005"/>
            <a:ext cx="11257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Mail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D87D3D80-E1D1-49B5-BF38-21A163229B3C}"/>
              </a:ext>
            </a:extLst>
          </p:cNvPr>
          <p:cNvSpPr txBox="1"/>
          <p:nvPr/>
        </p:nvSpPr>
        <p:spPr>
          <a:xfrm>
            <a:off x="5375034" y="3469937"/>
            <a:ext cx="11257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Clusters’ size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B8DE619-5A4A-40E2-99E7-2F4EA02AE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855" y="5230785"/>
            <a:ext cx="3114569" cy="796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4" name="TextBox 383">
            <a:extLst>
              <a:ext uri="{FF2B5EF4-FFF2-40B4-BE49-F238E27FC236}">
                <a16:creationId xmlns:a16="http://schemas.microsoft.com/office/drawing/2014/main" id="{F354326F-F1A6-46E8-B76D-C40244017EF4}"/>
              </a:ext>
            </a:extLst>
          </p:cNvPr>
          <p:cNvSpPr txBox="1"/>
          <p:nvPr/>
        </p:nvSpPr>
        <p:spPr>
          <a:xfrm>
            <a:off x="5146192" y="6087840"/>
            <a:ext cx="16584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Key features distribu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12AB7D-0F0F-441E-B0FB-B569D0C245D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9621"/>
          <a:stretch/>
        </p:blipFill>
        <p:spPr>
          <a:xfrm rot="5400000">
            <a:off x="1708522" y="4423663"/>
            <a:ext cx="1249206" cy="2362843"/>
          </a:xfrm>
          <a:prstGeom prst="rect">
            <a:avLst/>
          </a:prstGeom>
        </p:spPr>
      </p:pic>
      <p:sp>
        <p:nvSpPr>
          <p:cNvPr id="390" name="TextBox 389">
            <a:extLst>
              <a:ext uri="{FF2B5EF4-FFF2-40B4-BE49-F238E27FC236}">
                <a16:creationId xmlns:a16="http://schemas.microsoft.com/office/drawing/2014/main" id="{BD062AC9-AF4D-486A-9FB2-D8AF7A20D9B1}"/>
              </a:ext>
            </a:extLst>
          </p:cNvPr>
          <p:cNvSpPr txBox="1"/>
          <p:nvPr/>
        </p:nvSpPr>
        <p:spPr>
          <a:xfrm>
            <a:off x="1648998" y="6290257"/>
            <a:ext cx="150933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Features’ importanc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B9148C-D5FF-41F0-844D-5A7250D286D4}"/>
              </a:ext>
            </a:extLst>
          </p:cNvPr>
          <p:cNvCxnSpPr>
            <a:cxnSpLocks/>
          </p:cNvCxnSpPr>
          <p:nvPr/>
        </p:nvCxnSpPr>
        <p:spPr>
          <a:xfrm flipV="1">
            <a:off x="1747319" y="6220003"/>
            <a:ext cx="1702051" cy="172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5A76AA8D-F8A0-4B7E-94F4-E6B3C4F35711}"/>
              </a:ext>
            </a:extLst>
          </p:cNvPr>
          <p:cNvGrpSpPr/>
          <p:nvPr/>
        </p:nvGrpSpPr>
        <p:grpSpPr>
          <a:xfrm>
            <a:off x="900585" y="1336928"/>
            <a:ext cx="200986" cy="226582"/>
            <a:chOff x="4568131" y="3871144"/>
            <a:chExt cx="739775" cy="752475"/>
          </a:xfrm>
          <a:solidFill>
            <a:schemeClr val="bg1"/>
          </a:solidFill>
        </p:grpSpPr>
        <p:sp>
          <p:nvSpPr>
            <p:cNvPr id="392" name="Freeform 412">
              <a:extLst>
                <a:ext uri="{FF2B5EF4-FFF2-40B4-BE49-F238E27FC236}">
                  <a16:creationId xmlns:a16="http://schemas.microsoft.com/office/drawing/2014/main" id="{844689A2-58F7-4DAE-876A-053C55174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5643" y="4368031"/>
              <a:ext cx="258763" cy="255588"/>
            </a:xfrm>
            <a:custGeom>
              <a:avLst/>
              <a:gdLst/>
              <a:ahLst/>
              <a:cxnLst>
                <a:cxn ang="0">
                  <a:pos x="324" y="312"/>
                </a:cxn>
                <a:cxn ang="0">
                  <a:pos x="326" y="309"/>
                </a:cxn>
                <a:cxn ang="0">
                  <a:pos x="326" y="309"/>
                </a:cxn>
                <a:cxn ang="0">
                  <a:pos x="316" y="305"/>
                </a:cxn>
                <a:cxn ang="0">
                  <a:pos x="305" y="301"/>
                </a:cxn>
                <a:cxn ang="0">
                  <a:pos x="297" y="295"/>
                </a:cxn>
                <a:cxn ang="0">
                  <a:pos x="288" y="288"/>
                </a:cxn>
                <a:cxn ang="0">
                  <a:pos x="27" y="27"/>
                </a:cxn>
                <a:cxn ang="0">
                  <a:pos x="27" y="27"/>
                </a:cxn>
                <a:cxn ang="0">
                  <a:pos x="17" y="15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6"/>
                </a:cxn>
                <a:cxn ang="0">
                  <a:pos x="2" y="11"/>
                </a:cxn>
                <a:cxn ang="0">
                  <a:pos x="0" y="19"/>
                </a:cxn>
                <a:cxn ang="0">
                  <a:pos x="0" y="27"/>
                </a:cxn>
                <a:cxn ang="0">
                  <a:pos x="0" y="32"/>
                </a:cxn>
                <a:cxn ang="0">
                  <a:pos x="2" y="40"/>
                </a:cxn>
                <a:cxn ang="0">
                  <a:pos x="6" y="46"/>
                </a:cxn>
                <a:cxn ang="0">
                  <a:pos x="11" y="51"/>
                </a:cxn>
                <a:cxn ang="0">
                  <a:pos x="270" y="312"/>
                </a:cxn>
                <a:cxn ang="0">
                  <a:pos x="270" y="312"/>
                </a:cxn>
                <a:cxn ang="0">
                  <a:pos x="276" y="316"/>
                </a:cxn>
                <a:cxn ang="0">
                  <a:pos x="284" y="320"/>
                </a:cxn>
                <a:cxn ang="0">
                  <a:pos x="289" y="322"/>
                </a:cxn>
                <a:cxn ang="0">
                  <a:pos x="297" y="322"/>
                </a:cxn>
                <a:cxn ang="0">
                  <a:pos x="305" y="322"/>
                </a:cxn>
                <a:cxn ang="0">
                  <a:pos x="310" y="320"/>
                </a:cxn>
                <a:cxn ang="0">
                  <a:pos x="318" y="316"/>
                </a:cxn>
                <a:cxn ang="0">
                  <a:pos x="324" y="312"/>
                </a:cxn>
                <a:cxn ang="0">
                  <a:pos x="324" y="312"/>
                </a:cxn>
              </a:cxnLst>
              <a:rect l="0" t="0" r="r" b="b"/>
              <a:pathLst>
                <a:path w="326" h="322">
                  <a:moveTo>
                    <a:pt x="324" y="312"/>
                  </a:moveTo>
                  <a:lnTo>
                    <a:pt x="326" y="309"/>
                  </a:lnTo>
                  <a:lnTo>
                    <a:pt x="326" y="309"/>
                  </a:lnTo>
                  <a:lnTo>
                    <a:pt x="316" y="305"/>
                  </a:lnTo>
                  <a:lnTo>
                    <a:pt x="305" y="301"/>
                  </a:lnTo>
                  <a:lnTo>
                    <a:pt x="297" y="295"/>
                  </a:lnTo>
                  <a:lnTo>
                    <a:pt x="288" y="28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17" y="15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2" y="40"/>
                  </a:lnTo>
                  <a:lnTo>
                    <a:pt x="6" y="46"/>
                  </a:lnTo>
                  <a:lnTo>
                    <a:pt x="11" y="51"/>
                  </a:lnTo>
                  <a:lnTo>
                    <a:pt x="270" y="312"/>
                  </a:lnTo>
                  <a:lnTo>
                    <a:pt x="270" y="312"/>
                  </a:lnTo>
                  <a:lnTo>
                    <a:pt x="276" y="316"/>
                  </a:lnTo>
                  <a:lnTo>
                    <a:pt x="284" y="320"/>
                  </a:lnTo>
                  <a:lnTo>
                    <a:pt x="289" y="322"/>
                  </a:lnTo>
                  <a:lnTo>
                    <a:pt x="297" y="322"/>
                  </a:lnTo>
                  <a:lnTo>
                    <a:pt x="305" y="322"/>
                  </a:lnTo>
                  <a:lnTo>
                    <a:pt x="310" y="320"/>
                  </a:lnTo>
                  <a:lnTo>
                    <a:pt x="318" y="316"/>
                  </a:lnTo>
                  <a:lnTo>
                    <a:pt x="324" y="312"/>
                  </a:lnTo>
                  <a:lnTo>
                    <a:pt x="324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413">
              <a:extLst>
                <a:ext uri="{FF2B5EF4-FFF2-40B4-BE49-F238E27FC236}">
                  <a16:creationId xmlns:a16="http://schemas.microsoft.com/office/drawing/2014/main" id="{0C4AE7F7-10B1-4F56-BECA-96A72B0E9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131" y="4098156"/>
              <a:ext cx="320675" cy="276225"/>
            </a:xfrm>
            <a:custGeom>
              <a:avLst/>
              <a:gdLst/>
              <a:ahLst/>
              <a:cxnLst>
                <a:cxn ang="0">
                  <a:pos x="404" y="322"/>
                </a:cxn>
                <a:cxn ang="0">
                  <a:pos x="404" y="322"/>
                </a:cxn>
                <a:cxn ang="0">
                  <a:pos x="370" y="328"/>
                </a:cxn>
                <a:cxn ang="0">
                  <a:pos x="333" y="329"/>
                </a:cxn>
                <a:cxn ang="0">
                  <a:pos x="333" y="329"/>
                </a:cxn>
                <a:cxn ang="0">
                  <a:pos x="301" y="328"/>
                </a:cxn>
                <a:cxn ang="0">
                  <a:pos x="269" y="324"/>
                </a:cxn>
                <a:cxn ang="0">
                  <a:pos x="238" y="316"/>
                </a:cxn>
                <a:cxn ang="0">
                  <a:pos x="208" y="305"/>
                </a:cxn>
                <a:cxn ang="0">
                  <a:pos x="179" y="291"/>
                </a:cxn>
                <a:cxn ang="0">
                  <a:pos x="151" y="274"/>
                </a:cxn>
                <a:cxn ang="0">
                  <a:pos x="126" y="255"/>
                </a:cxn>
                <a:cxn ang="0">
                  <a:pos x="101" y="234"/>
                </a:cxn>
                <a:cxn ang="0">
                  <a:pos x="101" y="234"/>
                </a:cxn>
                <a:cxn ang="0">
                  <a:pos x="78" y="208"/>
                </a:cxn>
                <a:cxn ang="0">
                  <a:pos x="59" y="181"/>
                </a:cxn>
                <a:cxn ang="0">
                  <a:pos x="42" y="154"/>
                </a:cxn>
                <a:cxn ang="0">
                  <a:pos x="29" y="124"/>
                </a:cxn>
                <a:cxn ang="0">
                  <a:pos x="19" y="95"/>
                </a:cxn>
                <a:cxn ang="0">
                  <a:pos x="12" y="63"/>
                </a:cxn>
                <a:cxn ang="0">
                  <a:pos x="8" y="3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0" y="36"/>
                </a:cxn>
                <a:cxn ang="0">
                  <a:pos x="0" y="70"/>
                </a:cxn>
                <a:cxn ang="0">
                  <a:pos x="4" y="105"/>
                </a:cxn>
                <a:cxn ang="0">
                  <a:pos x="12" y="139"/>
                </a:cxn>
                <a:cxn ang="0">
                  <a:pos x="23" y="171"/>
                </a:cxn>
                <a:cxn ang="0">
                  <a:pos x="40" y="204"/>
                </a:cxn>
                <a:cxn ang="0">
                  <a:pos x="50" y="219"/>
                </a:cxn>
                <a:cxn ang="0">
                  <a:pos x="59" y="234"/>
                </a:cxn>
                <a:cxn ang="0">
                  <a:pos x="72" y="248"/>
                </a:cxn>
                <a:cxn ang="0">
                  <a:pos x="84" y="261"/>
                </a:cxn>
                <a:cxn ang="0">
                  <a:pos x="84" y="261"/>
                </a:cxn>
                <a:cxn ang="0">
                  <a:pos x="101" y="276"/>
                </a:cxn>
                <a:cxn ang="0">
                  <a:pos x="118" y="291"/>
                </a:cxn>
                <a:cxn ang="0">
                  <a:pos x="137" y="303"/>
                </a:cxn>
                <a:cxn ang="0">
                  <a:pos x="156" y="314"/>
                </a:cxn>
                <a:cxn ang="0">
                  <a:pos x="175" y="324"/>
                </a:cxn>
                <a:cxn ang="0">
                  <a:pos x="196" y="331"/>
                </a:cxn>
                <a:cxn ang="0">
                  <a:pos x="217" y="337"/>
                </a:cxn>
                <a:cxn ang="0">
                  <a:pos x="238" y="341"/>
                </a:cxn>
                <a:cxn ang="0">
                  <a:pos x="259" y="345"/>
                </a:cxn>
                <a:cxn ang="0">
                  <a:pos x="280" y="347"/>
                </a:cxn>
                <a:cxn ang="0">
                  <a:pos x="301" y="345"/>
                </a:cxn>
                <a:cxn ang="0">
                  <a:pos x="322" y="345"/>
                </a:cxn>
                <a:cxn ang="0">
                  <a:pos x="343" y="341"/>
                </a:cxn>
                <a:cxn ang="0">
                  <a:pos x="364" y="335"/>
                </a:cxn>
                <a:cxn ang="0">
                  <a:pos x="385" y="329"/>
                </a:cxn>
                <a:cxn ang="0">
                  <a:pos x="404" y="322"/>
                </a:cxn>
                <a:cxn ang="0">
                  <a:pos x="404" y="322"/>
                </a:cxn>
              </a:cxnLst>
              <a:rect l="0" t="0" r="r" b="b"/>
              <a:pathLst>
                <a:path w="404" h="347">
                  <a:moveTo>
                    <a:pt x="404" y="322"/>
                  </a:moveTo>
                  <a:lnTo>
                    <a:pt x="404" y="322"/>
                  </a:lnTo>
                  <a:lnTo>
                    <a:pt x="370" y="328"/>
                  </a:lnTo>
                  <a:lnTo>
                    <a:pt x="333" y="329"/>
                  </a:lnTo>
                  <a:lnTo>
                    <a:pt x="333" y="329"/>
                  </a:lnTo>
                  <a:lnTo>
                    <a:pt x="301" y="328"/>
                  </a:lnTo>
                  <a:lnTo>
                    <a:pt x="269" y="324"/>
                  </a:lnTo>
                  <a:lnTo>
                    <a:pt x="238" y="316"/>
                  </a:lnTo>
                  <a:lnTo>
                    <a:pt x="208" y="305"/>
                  </a:lnTo>
                  <a:lnTo>
                    <a:pt x="179" y="291"/>
                  </a:lnTo>
                  <a:lnTo>
                    <a:pt x="151" y="274"/>
                  </a:lnTo>
                  <a:lnTo>
                    <a:pt x="126" y="255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78" y="208"/>
                  </a:lnTo>
                  <a:lnTo>
                    <a:pt x="59" y="181"/>
                  </a:lnTo>
                  <a:lnTo>
                    <a:pt x="42" y="154"/>
                  </a:lnTo>
                  <a:lnTo>
                    <a:pt x="29" y="124"/>
                  </a:lnTo>
                  <a:lnTo>
                    <a:pt x="19" y="95"/>
                  </a:lnTo>
                  <a:lnTo>
                    <a:pt x="12" y="63"/>
                  </a:lnTo>
                  <a:lnTo>
                    <a:pt x="8" y="32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36"/>
                  </a:lnTo>
                  <a:lnTo>
                    <a:pt x="0" y="70"/>
                  </a:lnTo>
                  <a:lnTo>
                    <a:pt x="4" y="105"/>
                  </a:lnTo>
                  <a:lnTo>
                    <a:pt x="12" y="139"/>
                  </a:lnTo>
                  <a:lnTo>
                    <a:pt x="23" y="171"/>
                  </a:lnTo>
                  <a:lnTo>
                    <a:pt x="40" y="204"/>
                  </a:lnTo>
                  <a:lnTo>
                    <a:pt x="50" y="219"/>
                  </a:lnTo>
                  <a:lnTo>
                    <a:pt x="59" y="234"/>
                  </a:lnTo>
                  <a:lnTo>
                    <a:pt x="72" y="248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101" y="276"/>
                  </a:lnTo>
                  <a:lnTo>
                    <a:pt x="118" y="291"/>
                  </a:lnTo>
                  <a:lnTo>
                    <a:pt x="137" y="303"/>
                  </a:lnTo>
                  <a:lnTo>
                    <a:pt x="156" y="314"/>
                  </a:lnTo>
                  <a:lnTo>
                    <a:pt x="175" y="324"/>
                  </a:lnTo>
                  <a:lnTo>
                    <a:pt x="196" y="331"/>
                  </a:lnTo>
                  <a:lnTo>
                    <a:pt x="217" y="337"/>
                  </a:lnTo>
                  <a:lnTo>
                    <a:pt x="238" y="341"/>
                  </a:lnTo>
                  <a:lnTo>
                    <a:pt x="259" y="345"/>
                  </a:lnTo>
                  <a:lnTo>
                    <a:pt x="280" y="347"/>
                  </a:lnTo>
                  <a:lnTo>
                    <a:pt x="301" y="345"/>
                  </a:lnTo>
                  <a:lnTo>
                    <a:pt x="322" y="345"/>
                  </a:lnTo>
                  <a:lnTo>
                    <a:pt x="343" y="341"/>
                  </a:lnTo>
                  <a:lnTo>
                    <a:pt x="364" y="335"/>
                  </a:lnTo>
                  <a:lnTo>
                    <a:pt x="385" y="329"/>
                  </a:lnTo>
                  <a:lnTo>
                    <a:pt x="404" y="322"/>
                  </a:lnTo>
                  <a:lnTo>
                    <a:pt x="404" y="3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4" name="Freeform 414">
              <a:extLst>
                <a:ext uri="{FF2B5EF4-FFF2-40B4-BE49-F238E27FC236}">
                  <a16:creationId xmlns:a16="http://schemas.microsoft.com/office/drawing/2014/main" id="{55629B22-0EF1-4563-8D33-EEB7A8B4BC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3056" y="3871144"/>
              <a:ext cx="458788" cy="457200"/>
            </a:xfrm>
            <a:custGeom>
              <a:avLst/>
              <a:gdLst/>
              <a:ahLst/>
              <a:cxnLst>
                <a:cxn ang="0">
                  <a:pos x="65" y="107"/>
                </a:cxn>
                <a:cxn ang="0">
                  <a:pos x="21" y="181"/>
                </a:cxn>
                <a:cxn ang="0">
                  <a:pos x="2" y="261"/>
                </a:cxn>
                <a:cxn ang="0">
                  <a:pos x="6" y="345"/>
                </a:cxn>
                <a:cxn ang="0">
                  <a:pos x="34" y="423"/>
                </a:cxn>
                <a:cxn ang="0">
                  <a:pos x="86" y="494"/>
                </a:cxn>
                <a:cxn ang="0">
                  <a:pos x="131" y="530"/>
                </a:cxn>
                <a:cxn ang="0">
                  <a:pos x="208" y="566"/>
                </a:cxn>
                <a:cxn ang="0">
                  <a:pos x="289" y="577"/>
                </a:cxn>
                <a:cxn ang="0">
                  <a:pos x="345" y="574"/>
                </a:cxn>
                <a:cxn ang="0">
                  <a:pos x="423" y="545"/>
                </a:cxn>
                <a:cxn ang="0">
                  <a:pos x="493" y="494"/>
                </a:cxn>
                <a:cxn ang="0">
                  <a:pos x="530" y="448"/>
                </a:cxn>
                <a:cxn ang="0">
                  <a:pos x="566" y="372"/>
                </a:cxn>
                <a:cxn ang="0">
                  <a:pos x="577" y="290"/>
                </a:cxn>
                <a:cxn ang="0">
                  <a:pos x="566" y="208"/>
                </a:cxn>
                <a:cxn ang="0">
                  <a:pos x="530" y="130"/>
                </a:cxn>
                <a:cxn ang="0">
                  <a:pos x="493" y="86"/>
                </a:cxn>
                <a:cxn ang="0">
                  <a:pos x="423" y="35"/>
                </a:cxn>
                <a:cxn ang="0">
                  <a:pos x="345" y="6"/>
                </a:cxn>
                <a:cxn ang="0">
                  <a:pos x="289" y="0"/>
                </a:cxn>
                <a:cxn ang="0">
                  <a:pos x="208" y="12"/>
                </a:cxn>
                <a:cxn ang="0">
                  <a:pos x="129" y="48"/>
                </a:cxn>
                <a:cxn ang="0">
                  <a:pos x="86" y="86"/>
                </a:cxn>
                <a:cxn ang="0">
                  <a:pos x="539" y="315"/>
                </a:cxn>
                <a:cxn ang="0">
                  <a:pos x="522" y="385"/>
                </a:cxn>
                <a:cxn ang="0">
                  <a:pos x="484" y="448"/>
                </a:cxn>
                <a:cxn ang="0">
                  <a:pos x="448" y="484"/>
                </a:cxn>
                <a:cxn ang="0">
                  <a:pos x="385" y="522"/>
                </a:cxn>
                <a:cxn ang="0">
                  <a:pos x="314" y="539"/>
                </a:cxn>
                <a:cxn ang="0">
                  <a:pos x="265" y="539"/>
                </a:cxn>
                <a:cxn ang="0">
                  <a:pos x="192" y="522"/>
                </a:cxn>
                <a:cxn ang="0">
                  <a:pos x="129" y="484"/>
                </a:cxn>
                <a:cxn ang="0">
                  <a:pos x="95" y="448"/>
                </a:cxn>
                <a:cxn ang="0">
                  <a:pos x="57" y="385"/>
                </a:cxn>
                <a:cxn ang="0">
                  <a:pos x="40" y="315"/>
                </a:cxn>
                <a:cxn ang="0">
                  <a:pos x="40" y="265"/>
                </a:cxn>
                <a:cxn ang="0">
                  <a:pos x="57" y="193"/>
                </a:cxn>
                <a:cxn ang="0">
                  <a:pos x="95" y="130"/>
                </a:cxn>
                <a:cxn ang="0">
                  <a:pos x="129" y="95"/>
                </a:cxn>
                <a:cxn ang="0">
                  <a:pos x="192" y="57"/>
                </a:cxn>
                <a:cxn ang="0">
                  <a:pos x="265" y="40"/>
                </a:cxn>
                <a:cxn ang="0">
                  <a:pos x="314" y="40"/>
                </a:cxn>
                <a:cxn ang="0">
                  <a:pos x="385" y="57"/>
                </a:cxn>
                <a:cxn ang="0">
                  <a:pos x="448" y="95"/>
                </a:cxn>
                <a:cxn ang="0">
                  <a:pos x="484" y="130"/>
                </a:cxn>
                <a:cxn ang="0">
                  <a:pos x="522" y="193"/>
                </a:cxn>
                <a:cxn ang="0">
                  <a:pos x="539" y="265"/>
                </a:cxn>
              </a:cxnLst>
              <a:rect l="0" t="0" r="r" b="b"/>
              <a:pathLst>
                <a:path w="577" h="577">
                  <a:moveTo>
                    <a:pt x="86" y="86"/>
                  </a:moveTo>
                  <a:lnTo>
                    <a:pt x="86" y="86"/>
                  </a:lnTo>
                  <a:lnTo>
                    <a:pt x="65" y="107"/>
                  </a:lnTo>
                  <a:lnTo>
                    <a:pt x="48" y="130"/>
                  </a:lnTo>
                  <a:lnTo>
                    <a:pt x="34" y="155"/>
                  </a:lnTo>
                  <a:lnTo>
                    <a:pt x="21" y="181"/>
                  </a:lnTo>
                  <a:lnTo>
                    <a:pt x="13" y="208"/>
                  </a:lnTo>
                  <a:lnTo>
                    <a:pt x="6" y="235"/>
                  </a:lnTo>
                  <a:lnTo>
                    <a:pt x="2" y="261"/>
                  </a:lnTo>
                  <a:lnTo>
                    <a:pt x="0" y="290"/>
                  </a:lnTo>
                  <a:lnTo>
                    <a:pt x="2" y="316"/>
                  </a:lnTo>
                  <a:lnTo>
                    <a:pt x="6" y="345"/>
                  </a:lnTo>
                  <a:lnTo>
                    <a:pt x="13" y="372"/>
                  </a:lnTo>
                  <a:lnTo>
                    <a:pt x="21" y="398"/>
                  </a:lnTo>
                  <a:lnTo>
                    <a:pt x="34" y="423"/>
                  </a:lnTo>
                  <a:lnTo>
                    <a:pt x="48" y="448"/>
                  </a:lnTo>
                  <a:lnTo>
                    <a:pt x="65" y="471"/>
                  </a:lnTo>
                  <a:lnTo>
                    <a:pt x="86" y="494"/>
                  </a:lnTo>
                  <a:lnTo>
                    <a:pt x="86" y="494"/>
                  </a:lnTo>
                  <a:lnTo>
                    <a:pt x="107" y="513"/>
                  </a:lnTo>
                  <a:lnTo>
                    <a:pt x="131" y="530"/>
                  </a:lnTo>
                  <a:lnTo>
                    <a:pt x="154" y="545"/>
                  </a:lnTo>
                  <a:lnTo>
                    <a:pt x="181" y="556"/>
                  </a:lnTo>
                  <a:lnTo>
                    <a:pt x="208" y="566"/>
                  </a:lnTo>
                  <a:lnTo>
                    <a:pt x="234" y="574"/>
                  </a:lnTo>
                  <a:lnTo>
                    <a:pt x="261" y="577"/>
                  </a:lnTo>
                  <a:lnTo>
                    <a:pt x="289" y="577"/>
                  </a:lnTo>
                  <a:lnTo>
                    <a:pt x="289" y="577"/>
                  </a:lnTo>
                  <a:lnTo>
                    <a:pt x="316" y="577"/>
                  </a:lnTo>
                  <a:lnTo>
                    <a:pt x="345" y="574"/>
                  </a:lnTo>
                  <a:lnTo>
                    <a:pt x="371" y="566"/>
                  </a:lnTo>
                  <a:lnTo>
                    <a:pt x="398" y="556"/>
                  </a:lnTo>
                  <a:lnTo>
                    <a:pt x="423" y="545"/>
                  </a:lnTo>
                  <a:lnTo>
                    <a:pt x="448" y="530"/>
                  </a:lnTo>
                  <a:lnTo>
                    <a:pt x="472" y="513"/>
                  </a:lnTo>
                  <a:lnTo>
                    <a:pt x="493" y="494"/>
                  </a:lnTo>
                  <a:lnTo>
                    <a:pt x="493" y="494"/>
                  </a:lnTo>
                  <a:lnTo>
                    <a:pt x="512" y="471"/>
                  </a:lnTo>
                  <a:lnTo>
                    <a:pt x="530" y="448"/>
                  </a:lnTo>
                  <a:lnTo>
                    <a:pt x="545" y="423"/>
                  </a:lnTo>
                  <a:lnTo>
                    <a:pt x="556" y="398"/>
                  </a:lnTo>
                  <a:lnTo>
                    <a:pt x="566" y="372"/>
                  </a:lnTo>
                  <a:lnTo>
                    <a:pt x="573" y="345"/>
                  </a:lnTo>
                  <a:lnTo>
                    <a:pt x="577" y="316"/>
                  </a:lnTo>
                  <a:lnTo>
                    <a:pt x="577" y="290"/>
                  </a:lnTo>
                  <a:lnTo>
                    <a:pt x="577" y="261"/>
                  </a:lnTo>
                  <a:lnTo>
                    <a:pt x="573" y="235"/>
                  </a:lnTo>
                  <a:lnTo>
                    <a:pt x="566" y="208"/>
                  </a:lnTo>
                  <a:lnTo>
                    <a:pt x="556" y="181"/>
                  </a:lnTo>
                  <a:lnTo>
                    <a:pt x="545" y="155"/>
                  </a:lnTo>
                  <a:lnTo>
                    <a:pt x="530" y="130"/>
                  </a:lnTo>
                  <a:lnTo>
                    <a:pt x="512" y="107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72" y="65"/>
                  </a:lnTo>
                  <a:lnTo>
                    <a:pt x="448" y="48"/>
                  </a:lnTo>
                  <a:lnTo>
                    <a:pt x="423" y="35"/>
                  </a:lnTo>
                  <a:lnTo>
                    <a:pt x="398" y="21"/>
                  </a:lnTo>
                  <a:lnTo>
                    <a:pt x="371" y="12"/>
                  </a:lnTo>
                  <a:lnTo>
                    <a:pt x="345" y="6"/>
                  </a:lnTo>
                  <a:lnTo>
                    <a:pt x="316" y="2"/>
                  </a:lnTo>
                  <a:lnTo>
                    <a:pt x="289" y="0"/>
                  </a:lnTo>
                  <a:lnTo>
                    <a:pt x="289" y="0"/>
                  </a:lnTo>
                  <a:lnTo>
                    <a:pt x="261" y="2"/>
                  </a:lnTo>
                  <a:lnTo>
                    <a:pt x="234" y="6"/>
                  </a:lnTo>
                  <a:lnTo>
                    <a:pt x="208" y="12"/>
                  </a:lnTo>
                  <a:lnTo>
                    <a:pt x="181" y="21"/>
                  </a:lnTo>
                  <a:lnTo>
                    <a:pt x="154" y="35"/>
                  </a:lnTo>
                  <a:lnTo>
                    <a:pt x="129" y="48"/>
                  </a:lnTo>
                  <a:lnTo>
                    <a:pt x="107" y="65"/>
                  </a:lnTo>
                  <a:lnTo>
                    <a:pt x="86" y="86"/>
                  </a:lnTo>
                  <a:lnTo>
                    <a:pt x="86" y="86"/>
                  </a:lnTo>
                  <a:close/>
                  <a:moveTo>
                    <a:pt x="541" y="290"/>
                  </a:moveTo>
                  <a:lnTo>
                    <a:pt x="541" y="290"/>
                  </a:lnTo>
                  <a:lnTo>
                    <a:pt x="539" y="315"/>
                  </a:lnTo>
                  <a:lnTo>
                    <a:pt x="535" y="339"/>
                  </a:lnTo>
                  <a:lnTo>
                    <a:pt x="530" y="362"/>
                  </a:lnTo>
                  <a:lnTo>
                    <a:pt x="522" y="385"/>
                  </a:lnTo>
                  <a:lnTo>
                    <a:pt x="510" y="408"/>
                  </a:lnTo>
                  <a:lnTo>
                    <a:pt x="499" y="429"/>
                  </a:lnTo>
                  <a:lnTo>
                    <a:pt x="484" y="448"/>
                  </a:lnTo>
                  <a:lnTo>
                    <a:pt x="467" y="467"/>
                  </a:lnTo>
                  <a:lnTo>
                    <a:pt x="467" y="467"/>
                  </a:lnTo>
                  <a:lnTo>
                    <a:pt x="448" y="484"/>
                  </a:lnTo>
                  <a:lnTo>
                    <a:pt x="429" y="499"/>
                  </a:lnTo>
                  <a:lnTo>
                    <a:pt x="408" y="511"/>
                  </a:lnTo>
                  <a:lnTo>
                    <a:pt x="385" y="522"/>
                  </a:lnTo>
                  <a:lnTo>
                    <a:pt x="362" y="530"/>
                  </a:lnTo>
                  <a:lnTo>
                    <a:pt x="339" y="536"/>
                  </a:lnTo>
                  <a:lnTo>
                    <a:pt x="314" y="539"/>
                  </a:lnTo>
                  <a:lnTo>
                    <a:pt x="289" y="541"/>
                  </a:lnTo>
                  <a:lnTo>
                    <a:pt x="289" y="541"/>
                  </a:lnTo>
                  <a:lnTo>
                    <a:pt x="265" y="539"/>
                  </a:lnTo>
                  <a:lnTo>
                    <a:pt x="240" y="536"/>
                  </a:lnTo>
                  <a:lnTo>
                    <a:pt x="215" y="530"/>
                  </a:lnTo>
                  <a:lnTo>
                    <a:pt x="192" y="522"/>
                  </a:lnTo>
                  <a:lnTo>
                    <a:pt x="171" y="511"/>
                  </a:lnTo>
                  <a:lnTo>
                    <a:pt x="150" y="499"/>
                  </a:lnTo>
                  <a:lnTo>
                    <a:pt x="129" y="484"/>
                  </a:lnTo>
                  <a:lnTo>
                    <a:pt x="112" y="467"/>
                  </a:lnTo>
                  <a:lnTo>
                    <a:pt x="112" y="467"/>
                  </a:lnTo>
                  <a:lnTo>
                    <a:pt x="95" y="448"/>
                  </a:lnTo>
                  <a:lnTo>
                    <a:pt x="80" y="429"/>
                  </a:lnTo>
                  <a:lnTo>
                    <a:pt x="68" y="408"/>
                  </a:lnTo>
                  <a:lnTo>
                    <a:pt x="57" y="385"/>
                  </a:lnTo>
                  <a:lnTo>
                    <a:pt x="49" y="362"/>
                  </a:lnTo>
                  <a:lnTo>
                    <a:pt x="44" y="339"/>
                  </a:lnTo>
                  <a:lnTo>
                    <a:pt x="40" y="315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40" y="265"/>
                  </a:lnTo>
                  <a:lnTo>
                    <a:pt x="44" y="240"/>
                  </a:lnTo>
                  <a:lnTo>
                    <a:pt x="49" y="215"/>
                  </a:lnTo>
                  <a:lnTo>
                    <a:pt x="57" y="193"/>
                  </a:lnTo>
                  <a:lnTo>
                    <a:pt x="68" y="172"/>
                  </a:lnTo>
                  <a:lnTo>
                    <a:pt x="80" y="151"/>
                  </a:lnTo>
                  <a:lnTo>
                    <a:pt x="95" y="130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29" y="95"/>
                  </a:lnTo>
                  <a:lnTo>
                    <a:pt x="150" y="80"/>
                  </a:lnTo>
                  <a:lnTo>
                    <a:pt x="171" y="67"/>
                  </a:lnTo>
                  <a:lnTo>
                    <a:pt x="192" y="57"/>
                  </a:lnTo>
                  <a:lnTo>
                    <a:pt x="215" y="50"/>
                  </a:lnTo>
                  <a:lnTo>
                    <a:pt x="240" y="44"/>
                  </a:lnTo>
                  <a:lnTo>
                    <a:pt x="265" y="40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314" y="40"/>
                  </a:lnTo>
                  <a:lnTo>
                    <a:pt x="339" y="44"/>
                  </a:lnTo>
                  <a:lnTo>
                    <a:pt x="362" y="50"/>
                  </a:lnTo>
                  <a:lnTo>
                    <a:pt x="385" y="57"/>
                  </a:lnTo>
                  <a:lnTo>
                    <a:pt x="408" y="67"/>
                  </a:lnTo>
                  <a:lnTo>
                    <a:pt x="429" y="80"/>
                  </a:lnTo>
                  <a:lnTo>
                    <a:pt x="448" y="95"/>
                  </a:lnTo>
                  <a:lnTo>
                    <a:pt x="467" y="113"/>
                  </a:lnTo>
                  <a:lnTo>
                    <a:pt x="467" y="113"/>
                  </a:lnTo>
                  <a:lnTo>
                    <a:pt x="484" y="130"/>
                  </a:lnTo>
                  <a:lnTo>
                    <a:pt x="499" y="151"/>
                  </a:lnTo>
                  <a:lnTo>
                    <a:pt x="510" y="172"/>
                  </a:lnTo>
                  <a:lnTo>
                    <a:pt x="522" y="193"/>
                  </a:lnTo>
                  <a:lnTo>
                    <a:pt x="530" y="215"/>
                  </a:lnTo>
                  <a:lnTo>
                    <a:pt x="535" y="240"/>
                  </a:lnTo>
                  <a:lnTo>
                    <a:pt x="539" y="265"/>
                  </a:lnTo>
                  <a:lnTo>
                    <a:pt x="541" y="290"/>
                  </a:lnTo>
                  <a:lnTo>
                    <a:pt x="541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5" name="Freeform 415">
              <a:extLst>
                <a:ext uri="{FF2B5EF4-FFF2-40B4-BE49-F238E27FC236}">
                  <a16:creationId xmlns:a16="http://schemas.microsoft.com/office/drawing/2014/main" id="{388035F4-ED27-4099-A565-345423825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968" y="3933056"/>
              <a:ext cx="334963" cy="334963"/>
            </a:xfrm>
            <a:custGeom>
              <a:avLst/>
              <a:gdLst/>
              <a:ahLst/>
              <a:cxnLst>
                <a:cxn ang="0">
                  <a:pos x="61" y="61"/>
                </a:cxn>
                <a:cxn ang="0">
                  <a:pos x="34" y="96"/>
                </a:cxn>
                <a:cxn ang="0">
                  <a:pos x="15" y="132"/>
                </a:cxn>
                <a:cxn ang="0">
                  <a:pos x="4" y="172"/>
                </a:cxn>
                <a:cxn ang="0">
                  <a:pos x="0" y="212"/>
                </a:cxn>
                <a:cxn ang="0">
                  <a:pos x="4" y="252"/>
                </a:cxn>
                <a:cxn ang="0">
                  <a:pos x="15" y="292"/>
                </a:cxn>
                <a:cxn ang="0">
                  <a:pos x="34" y="328"/>
                </a:cxn>
                <a:cxn ang="0">
                  <a:pos x="61" y="360"/>
                </a:cxn>
                <a:cxn ang="0">
                  <a:pos x="78" y="376"/>
                </a:cxn>
                <a:cxn ang="0">
                  <a:pos x="112" y="398"/>
                </a:cxn>
                <a:cxn ang="0">
                  <a:pos x="151" y="414"/>
                </a:cxn>
                <a:cxn ang="0">
                  <a:pos x="191" y="421"/>
                </a:cxn>
                <a:cxn ang="0">
                  <a:pos x="211" y="423"/>
                </a:cxn>
                <a:cxn ang="0">
                  <a:pos x="251" y="419"/>
                </a:cxn>
                <a:cxn ang="0">
                  <a:pos x="291" y="408"/>
                </a:cxn>
                <a:cxn ang="0">
                  <a:pos x="328" y="389"/>
                </a:cxn>
                <a:cxn ang="0">
                  <a:pos x="360" y="360"/>
                </a:cxn>
                <a:cxn ang="0">
                  <a:pos x="375" y="345"/>
                </a:cxn>
                <a:cxn ang="0">
                  <a:pos x="398" y="309"/>
                </a:cxn>
                <a:cxn ang="0">
                  <a:pos x="413" y="271"/>
                </a:cxn>
                <a:cxn ang="0">
                  <a:pos x="423" y="231"/>
                </a:cxn>
                <a:cxn ang="0">
                  <a:pos x="423" y="191"/>
                </a:cxn>
                <a:cxn ang="0">
                  <a:pos x="413" y="151"/>
                </a:cxn>
                <a:cxn ang="0">
                  <a:pos x="398" y="113"/>
                </a:cxn>
                <a:cxn ang="0">
                  <a:pos x="375" y="78"/>
                </a:cxn>
                <a:cxn ang="0">
                  <a:pos x="360" y="61"/>
                </a:cxn>
                <a:cxn ang="0">
                  <a:pos x="328" y="35"/>
                </a:cxn>
                <a:cxn ang="0">
                  <a:pos x="291" y="16"/>
                </a:cxn>
                <a:cxn ang="0">
                  <a:pos x="251" y="4"/>
                </a:cxn>
                <a:cxn ang="0">
                  <a:pos x="211" y="0"/>
                </a:cxn>
                <a:cxn ang="0">
                  <a:pos x="191" y="0"/>
                </a:cxn>
                <a:cxn ang="0">
                  <a:pos x="151" y="8"/>
                </a:cxn>
                <a:cxn ang="0">
                  <a:pos x="112" y="23"/>
                </a:cxn>
                <a:cxn ang="0">
                  <a:pos x="78" y="48"/>
                </a:cxn>
                <a:cxn ang="0">
                  <a:pos x="61" y="61"/>
                </a:cxn>
              </a:cxnLst>
              <a:rect l="0" t="0" r="r" b="b"/>
              <a:pathLst>
                <a:path w="423" h="423">
                  <a:moveTo>
                    <a:pt x="61" y="61"/>
                  </a:moveTo>
                  <a:lnTo>
                    <a:pt x="61" y="61"/>
                  </a:lnTo>
                  <a:lnTo>
                    <a:pt x="48" y="78"/>
                  </a:lnTo>
                  <a:lnTo>
                    <a:pt x="34" y="96"/>
                  </a:lnTo>
                  <a:lnTo>
                    <a:pt x="23" y="113"/>
                  </a:lnTo>
                  <a:lnTo>
                    <a:pt x="15" y="132"/>
                  </a:lnTo>
                  <a:lnTo>
                    <a:pt x="8" y="151"/>
                  </a:lnTo>
                  <a:lnTo>
                    <a:pt x="4" y="172"/>
                  </a:lnTo>
                  <a:lnTo>
                    <a:pt x="0" y="191"/>
                  </a:lnTo>
                  <a:lnTo>
                    <a:pt x="0" y="212"/>
                  </a:lnTo>
                  <a:lnTo>
                    <a:pt x="0" y="231"/>
                  </a:lnTo>
                  <a:lnTo>
                    <a:pt x="4" y="252"/>
                  </a:lnTo>
                  <a:lnTo>
                    <a:pt x="8" y="271"/>
                  </a:lnTo>
                  <a:lnTo>
                    <a:pt x="15" y="292"/>
                  </a:lnTo>
                  <a:lnTo>
                    <a:pt x="23" y="309"/>
                  </a:lnTo>
                  <a:lnTo>
                    <a:pt x="34" y="328"/>
                  </a:lnTo>
                  <a:lnTo>
                    <a:pt x="48" y="345"/>
                  </a:lnTo>
                  <a:lnTo>
                    <a:pt x="61" y="360"/>
                  </a:lnTo>
                  <a:lnTo>
                    <a:pt x="61" y="360"/>
                  </a:lnTo>
                  <a:lnTo>
                    <a:pt x="78" y="376"/>
                  </a:lnTo>
                  <a:lnTo>
                    <a:pt x="95" y="389"/>
                  </a:lnTo>
                  <a:lnTo>
                    <a:pt x="112" y="398"/>
                  </a:lnTo>
                  <a:lnTo>
                    <a:pt x="131" y="408"/>
                  </a:lnTo>
                  <a:lnTo>
                    <a:pt x="151" y="414"/>
                  </a:lnTo>
                  <a:lnTo>
                    <a:pt x="171" y="419"/>
                  </a:lnTo>
                  <a:lnTo>
                    <a:pt x="191" y="421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32" y="421"/>
                  </a:lnTo>
                  <a:lnTo>
                    <a:pt x="251" y="419"/>
                  </a:lnTo>
                  <a:lnTo>
                    <a:pt x="272" y="414"/>
                  </a:lnTo>
                  <a:lnTo>
                    <a:pt x="291" y="408"/>
                  </a:lnTo>
                  <a:lnTo>
                    <a:pt x="311" y="398"/>
                  </a:lnTo>
                  <a:lnTo>
                    <a:pt x="328" y="389"/>
                  </a:lnTo>
                  <a:lnTo>
                    <a:pt x="345" y="376"/>
                  </a:lnTo>
                  <a:lnTo>
                    <a:pt x="360" y="360"/>
                  </a:lnTo>
                  <a:lnTo>
                    <a:pt x="360" y="360"/>
                  </a:lnTo>
                  <a:lnTo>
                    <a:pt x="375" y="345"/>
                  </a:lnTo>
                  <a:lnTo>
                    <a:pt x="389" y="328"/>
                  </a:lnTo>
                  <a:lnTo>
                    <a:pt x="398" y="309"/>
                  </a:lnTo>
                  <a:lnTo>
                    <a:pt x="408" y="292"/>
                  </a:lnTo>
                  <a:lnTo>
                    <a:pt x="413" y="271"/>
                  </a:lnTo>
                  <a:lnTo>
                    <a:pt x="419" y="252"/>
                  </a:lnTo>
                  <a:lnTo>
                    <a:pt x="423" y="231"/>
                  </a:lnTo>
                  <a:lnTo>
                    <a:pt x="423" y="212"/>
                  </a:lnTo>
                  <a:lnTo>
                    <a:pt x="423" y="191"/>
                  </a:lnTo>
                  <a:lnTo>
                    <a:pt x="419" y="172"/>
                  </a:lnTo>
                  <a:lnTo>
                    <a:pt x="413" y="151"/>
                  </a:lnTo>
                  <a:lnTo>
                    <a:pt x="408" y="132"/>
                  </a:lnTo>
                  <a:lnTo>
                    <a:pt x="398" y="113"/>
                  </a:lnTo>
                  <a:lnTo>
                    <a:pt x="389" y="96"/>
                  </a:lnTo>
                  <a:lnTo>
                    <a:pt x="375" y="78"/>
                  </a:lnTo>
                  <a:lnTo>
                    <a:pt x="360" y="61"/>
                  </a:lnTo>
                  <a:lnTo>
                    <a:pt x="360" y="61"/>
                  </a:lnTo>
                  <a:lnTo>
                    <a:pt x="345" y="48"/>
                  </a:lnTo>
                  <a:lnTo>
                    <a:pt x="328" y="35"/>
                  </a:lnTo>
                  <a:lnTo>
                    <a:pt x="311" y="23"/>
                  </a:lnTo>
                  <a:lnTo>
                    <a:pt x="291" y="16"/>
                  </a:lnTo>
                  <a:lnTo>
                    <a:pt x="272" y="8"/>
                  </a:lnTo>
                  <a:lnTo>
                    <a:pt x="251" y="4"/>
                  </a:lnTo>
                  <a:lnTo>
                    <a:pt x="232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191" y="0"/>
                  </a:lnTo>
                  <a:lnTo>
                    <a:pt x="171" y="4"/>
                  </a:lnTo>
                  <a:lnTo>
                    <a:pt x="151" y="8"/>
                  </a:lnTo>
                  <a:lnTo>
                    <a:pt x="131" y="16"/>
                  </a:lnTo>
                  <a:lnTo>
                    <a:pt x="112" y="23"/>
                  </a:lnTo>
                  <a:lnTo>
                    <a:pt x="95" y="35"/>
                  </a:lnTo>
                  <a:lnTo>
                    <a:pt x="78" y="48"/>
                  </a:lnTo>
                  <a:lnTo>
                    <a:pt x="61" y="61"/>
                  </a:lnTo>
                  <a:lnTo>
                    <a:pt x="61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6" name="Freeform 416">
              <a:extLst>
                <a:ext uri="{FF2B5EF4-FFF2-40B4-BE49-F238E27FC236}">
                  <a16:creationId xmlns:a16="http://schemas.microsoft.com/office/drawing/2014/main" id="{3C07B2F8-0AA8-4EE9-A366-8156C0CDC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0568" y="4296594"/>
              <a:ext cx="287338" cy="285750"/>
            </a:xfrm>
            <a:custGeom>
              <a:avLst/>
              <a:gdLst/>
              <a:ahLst/>
              <a:cxnLst>
                <a:cxn ang="0">
                  <a:pos x="272" y="349"/>
                </a:cxn>
                <a:cxn ang="0">
                  <a:pos x="272" y="349"/>
                </a:cxn>
                <a:cxn ang="0">
                  <a:pos x="278" y="355"/>
                </a:cxn>
                <a:cxn ang="0">
                  <a:pos x="284" y="359"/>
                </a:cxn>
                <a:cxn ang="0">
                  <a:pos x="291" y="360"/>
                </a:cxn>
                <a:cxn ang="0">
                  <a:pos x="297" y="360"/>
                </a:cxn>
                <a:cxn ang="0">
                  <a:pos x="297" y="360"/>
                </a:cxn>
                <a:cxn ang="0">
                  <a:pos x="304" y="360"/>
                </a:cxn>
                <a:cxn ang="0">
                  <a:pos x="312" y="359"/>
                </a:cxn>
                <a:cxn ang="0">
                  <a:pos x="318" y="355"/>
                </a:cxn>
                <a:cxn ang="0">
                  <a:pos x="324" y="349"/>
                </a:cxn>
                <a:cxn ang="0">
                  <a:pos x="350" y="324"/>
                </a:cxn>
                <a:cxn ang="0">
                  <a:pos x="350" y="324"/>
                </a:cxn>
                <a:cxn ang="0">
                  <a:pos x="356" y="317"/>
                </a:cxn>
                <a:cxn ang="0">
                  <a:pos x="358" y="311"/>
                </a:cxn>
                <a:cxn ang="0">
                  <a:pos x="360" y="303"/>
                </a:cxn>
                <a:cxn ang="0">
                  <a:pos x="362" y="298"/>
                </a:cxn>
                <a:cxn ang="0">
                  <a:pos x="360" y="290"/>
                </a:cxn>
                <a:cxn ang="0">
                  <a:pos x="358" y="282"/>
                </a:cxn>
                <a:cxn ang="0">
                  <a:pos x="356" y="277"/>
                </a:cxn>
                <a:cxn ang="0">
                  <a:pos x="350" y="271"/>
                </a:cxn>
                <a:cxn ang="0">
                  <a:pos x="89" y="10"/>
                </a:cxn>
                <a:cxn ang="0">
                  <a:pos x="89" y="10"/>
                </a:cxn>
                <a:cxn ang="0">
                  <a:pos x="84" y="6"/>
                </a:cxn>
                <a:cxn ang="0">
                  <a:pos x="78" y="2"/>
                </a:cxn>
                <a:cxn ang="0">
                  <a:pos x="7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57" y="0"/>
                </a:cxn>
                <a:cxn ang="0">
                  <a:pos x="49" y="2"/>
                </a:cxn>
                <a:cxn ang="0">
                  <a:pos x="44" y="6"/>
                </a:cxn>
                <a:cxn ang="0">
                  <a:pos x="38" y="10"/>
                </a:cxn>
                <a:cxn ang="0">
                  <a:pos x="11" y="37"/>
                </a:cxn>
                <a:cxn ang="0">
                  <a:pos x="11" y="37"/>
                </a:cxn>
                <a:cxn ang="0">
                  <a:pos x="5" y="42"/>
                </a:cxn>
                <a:cxn ang="0">
                  <a:pos x="4" y="50"/>
                </a:cxn>
                <a:cxn ang="0">
                  <a:pos x="2" y="56"/>
                </a:cxn>
                <a:cxn ang="0">
                  <a:pos x="0" y="63"/>
                </a:cxn>
                <a:cxn ang="0">
                  <a:pos x="2" y="71"/>
                </a:cxn>
                <a:cxn ang="0">
                  <a:pos x="4" y="77"/>
                </a:cxn>
                <a:cxn ang="0">
                  <a:pos x="5" y="84"/>
                </a:cxn>
                <a:cxn ang="0">
                  <a:pos x="11" y="90"/>
                </a:cxn>
                <a:cxn ang="0">
                  <a:pos x="272" y="349"/>
                </a:cxn>
              </a:cxnLst>
              <a:rect l="0" t="0" r="r" b="b"/>
              <a:pathLst>
                <a:path w="362" h="360">
                  <a:moveTo>
                    <a:pt x="272" y="349"/>
                  </a:moveTo>
                  <a:lnTo>
                    <a:pt x="272" y="349"/>
                  </a:lnTo>
                  <a:lnTo>
                    <a:pt x="278" y="355"/>
                  </a:lnTo>
                  <a:lnTo>
                    <a:pt x="284" y="359"/>
                  </a:lnTo>
                  <a:lnTo>
                    <a:pt x="291" y="360"/>
                  </a:lnTo>
                  <a:lnTo>
                    <a:pt x="297" y="360"/>
                  </a:lnTo>
                  <a:lnTo>
                    <a:pt x="297" y="360"/>
                  </a:lnTo>
                  <a:lnTo>
                    <a:pt x="304" y="360"/>
                  </a:lnTo>
                  <a:lnTo>
                    <a:pt x="312" y="359"/>
                  </a:lnTo>
                  <a:lnTo>
                    <a:pt x="318" y="355"/>
                  </a:lnTo>
                  <a:lnTo>
                    <a:pt x="324" y="349"/>
                  </a:lnTo>
                  <a:lnTo>
                    <a:pt x="350" y="324"/>
                  </a:lnTo>
                  <a:lnTo>
                    <a:pt x="350" y="324"/>
                  </a:lnTo>
                  <a:lnTo>
                    <a:pt x="356" y="317"/>
                  </a:lnTo>
                  <a:lnTo>
                    <a:pt x="358" y="311"/>
                  </a:lnTo>
                  <a:lnTo>
                    <a:pt x="360" y="303"/>
                  </a:lnTo>
                  <a:lnTo>
                    <a:pt x="362" y="298"/>
                  </a:lnTo>
                  <a:lnTo>
                    <a:pt x="360" y="290"/>
                  </a:lnTo>
                  <a:lnTo>
                    <a:pt x="358" y="282"/>
                  </a:lnTo>
                  <a:lnTo>
                    <a:pt x="356" y="277"/>
                  </a:lnTo>
                  <a:lnTo>
                    <a:pt x="350" y="271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4" y="6"/>
                  </a:lnTo>
                  <a:lnTo>
                    <a:pt x="78" y="2"/>
                  </a:lnTo>
                  <a:lnTo>
                    <a:pt x="7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57" y="0"/>
                  </a:lnTo>
                  <a:lnTo>
                    <a:pt x="49" y="2"/>
                  </a:lnTo>
                  <a:lnTo>
                    <a:pt x="44" y="6"/>
                  </a:lnTo>
                  <a:lnTo>
                    <a:pt x="38" y="10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5" y="42"/>
                  </a:lnTo>
                  <a:lnTo>
                    <a:pt x="4" y="50"/>
                  </a:lnTo>
                  <a:lnTo>
                    <a:pt x="2" y="56"/>
                  </a:lnTo>
                  <a:lnTo>
                    <a:pt x="0" y="63"/>
                  </a:lnTo>
                  <a:lnTo>
                    <a:pt x="2" y="71"/>
                  </a:lnTo>
                  <a:lnTo>
                    <a:pt x="4" y="77"/>
                  </a:lnTo>
                  <a:lnTo>
                    <a:pt x="5" y="84"/>
                  </a:lnTo>
                  <a:lnTo>
                    <a:pt x="11" y="90"/>
                  </a:lnTo>
                  <a:lnTo>
                    <a:pt x="272" y="3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7" name="Freeform 417">
              <a:extLst>
                <a:ext uri="{FF2B5EF4-FFF2-40B4-BE49-F238E27FC236}">
                  <a16:creationId xmlns:a16="http://schemas.microsoft.com/office/drawing/2014/main" id="{FABE358F-92F4-4DAB-A3C2-19B024193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6593" y="4271194"/>
              <a:ext cx="69850" cy="71438"/>
            </a:xfrm>
            <a:custGeom>
              <a:avLst/>
              <a:gdLst/>
              <a:ahLst/>
              <a:cxnLst>
                <a:cxn ang="0">
                  <a:pos x="90" y="25"/>
                </a:cxn>
                <a:cxn ang="0">
                  <a:pos x="80" y="13"/>
                </a:cxn>
                <a:cxn ang="0">
                  <a:pos x="73" y="8"/>
                </a:cxn>
                <a:cxn ang="0">
                  <a:pos x="67" y="0"/>
                </a:cxn>
                <a:cxn ang="0">
                  <a:pos x="4" y="63"/>
                </a:cxn>
                <a:cxn ang="0">
                  <a:pos x="0" y="67"/>
                </a:cxn>
                <a:cxn ang="0">
                  <a:pos x="25" y="90"/>
                </a:cxn>
                <a:cxn ang="0">
                  <a:pos x="31" y="84"/>
                </a:cxn>
                <a:cxn ang="0">
                  <a:pos x="90" y="25"/>
                </a:cxn>
              </a:cxnLst>
              <a:rect l="0" t="0" r="r" b="b"/>
              <a:pathLst>
                <a:path w="90" h="90">
                  <a:moveTo>
                    <a:pt x="90" y="25"/>
                  </a:moveTo>
                  <a:lnTo>
                    <a:pt x="80" y="13"/>
                  </a:lnTo>
                  <a:lnTo>
                    <a:pt x="73" y="8"/>
                  </a:lnTo>
                  <a:lnTo>
                    <a:pt x="67" y="0"/>
                  </a:lnTo>
                  <a:lnTo>
                    <a:pt x="4" y="63"/>
                  </a:lnTo>
                  <a:lnTo>
                    <a:pt x="0" y="67"/>
                  </a:lnTo>
                  <a:lnTo>
                    <a:pt x="25" y="90"/>
                  </a:lnTo>
                  <a:lnTo>
                    <a:pt x="31" y="84"/>
                  </a:lnTo>
                  <a:lnTo>
                    <a:pt x="90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F73C913F-844B-4DB5-8F6D-6C4B6359BF9D}"/>
              </a:ext>
            </a:extLst>
          </p:cNvPr>
          <p:cNvGrpSpPr/>
          <p:nvPr/>
        </p:nvGrpSpPr>
        <p:grpSpPr>
          <a:xfrm>
            <a:off x="7865135" y="1335257"/>
            <a:ext cx="252000" cy="252000"/>
            <a:chOff x="1816100" y="1666875"/>
            <a:chExt cx="809625" cy="809625"/>
          </a:xfrm>
          <a:solidFill>
            <a:schemeClr val="bg1"/>
          </a:solidFill>
        </p:grpSpPr>
        <p:sp>
          <p:nvSpPr>
            <p:cNvPr id="399" name="Freeform 12">
              <a:extLst>
                <a:ext uri="{FF2B5EF4-FFF2-40B4-BE49-F238E27FC236}">
                  <a16:creationId xmlns:a16="http://schemas.microsoft.com/office/drawing/2014/main" id="{769FFB7A-9C6C-4662-842F-741A834F6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1997075"/>
              <a:ext cx="168275" cy="168275"/>
            </a:xfrm>
            <a:custGeom>
              <a:avLst/>
              <a:gdLst/>
              <a:ahLst/>
              <a:cxnLst>
                <a:cxn ang="0">
                  <a:pos x="68" y="2"/>
                </a:cxn>
                <a:cxn ang="0">
                  <a:pos x="68" y="2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24" y="10"/>
                </a:cxn>
                <a:cxn ang="0">
                  <a:pos x="16" y="16"/>
                </a:cxn>
                <a:cxn ang="0">
                  <a:pos x="10" y="24"/>
                </a:cxn>
                <a:cxn ang="0">
                  <a:pos x="4" y="32"/>
                </a:cxn>
                <a:cxn ang="0">
                  <a:pos x="2" y="42"/>
                </a:cxn>
                <a:cxn ang="0">
                  <a:pos x="0" y="54"/>
                </a:cxn>
                <a:cxn ang="0">
                  <a:pos x="0" y="54"/>
                </a:cxn>
                <a:cxn ang="0">
                  <a:pos x="2" y="64"/>
                </a:cxn>
                <a:cxn ang="0">
                  <a:pos x="4" y="74"/>
                </a:cxn>
                <a:cxn ang="0">
                  <a:pos x="10" y="84"/>
                </a:cxn>
                <a:cxn ang="0">
                  <a:pos x="16" y="92"/>
                </a:cxn>
                <a:cxn ang="0">
                  <a:pos x="24" y="98"/>
                </a:cxn>
                <a:cxn ang="0">
                  <a:pos x="32" y="102"/>
                </a:cxn>
                <a:cxn ang="0">
                  <a:pos x="42" y="106"/>
                </a:cxn>
                <a:cxn ang="0">
                  <a:pos x="54" y="106"/>
                </a:cxn>
                <a:cxn ang="0">
                  <a:pos x="54" y="106"/>
                </a:cxn>
                <a:cxn ang="0">
                  <a:pos x="64" y="106"/>
                </a:cxn>
                <a:cxn ang="0">
                  <a:pos x="74" y="102"/>
                </a:cxn>
                <a:cxn ang="0">
                  <a:pos x="84" y="98"/>
                </a:cxn>
                <a:cxn ang="0">
                  <a:pos x="92" y="92"/>
                </a:cxn>
                <a:cxn ang="0">
                  <a:pos x="98" y="84"/>
                </a:cxn>
                <a:cxn ang="0">
                  <a:pos x="102" y="74"/>
                </a:cxn>
                <a:cxn ang="0">
                  <a:pos x="106" y="64"/>
                </a:cxn>
                <a:cxn ang="0">
                  <a:pos x="106" y="54"/>
                </a:cxn>
                <a:cxn ang="0">
                  <a:pos x="106" y="54"/>
                </a:cxn>
                <a:cxn ang="0">
                  <a:pos x="104" y="40"/>
                </a:cxn>
                <a:cxn ang="0">
                  <a:pos x="72" y="72"/>
                </a:cxn>
                <a:cxn ang="0">
                  <a:pos x="72" y="72"/>
                </a:cxn>
                <a:cxn ang="0">
                  <a:pos x="64" y="78"/>
                </a:cxn>
                <a:cxn ang="0">
                  <a:pos x="54" y="80"/>
                </a:cxn>
                <a:cxn ang="0">
                  <a:pos x="54" y="80"/>
                </a:cxn>
                <a:cxn ang="0">
                  <a:pos x="44" y="78"/>
                </a:cxn>
                <a:cxn ang="0">
                  <a:pos x="34" y="72"/>
                </a:cxn>
                <a:cxn ang="0">
                  <a:pos x="34" y="72"/>
                </a:cxn>
                <a:cxn ang="0">
                  <a:pos x="28" y="64"/>
                </a:cxn>
                <a:cxn ang="0">
                  <a:pos x="26" y="54"/>
                </a:cxn>
                <a:cxn ang="0">
                  <a:pos x="28" y="44"/>
                </a:cxn>
                <a:cxn ang="0">
                  <a:pos x="34" y="34"/>
                </a:cxn>
                <a:cxn ang="0">
                  <a:pos x="68" y="2"/>
                </a:cxn>
              </a:cxnLst>
              <a:rect l="0" t="0" r="r" b="b"/>
              <a:pathLst>
                <a:path w="106" h="106">
                  <a:moveTo>
                    <a:pt x="68" y="2"/>
                  </a:moveTo>
                  <a:lnTo>
                    <a:pt x="68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64"/>
                  </a:lnTo>
                  <a:lnTo>
                    <a:pt x="4" y="74"/>
                  </a:lnTo>
                  <a:lnTo>
                    <a:pt x="10" y="84"/>
                  </a:lnTo>
                  <a:lnTo>
                    <a:pt x="16" y="92"/>
                  </a:lnTo>
                  <a:lnTo>
                    <a:pt x="24" y="98"/>
                  </a:lnTo>
                  <a:lnTo>
                    <a:pt x="32" y="102"/>
                  </a:lnTo>
                  <a:lnTo>
                    <a:pt x="42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64" y="106"/>
                  </a:lnTo>
                  <a:lnTo>
                    <a:pt x="74" y="102"/>
                  </a:lnTo>
                  <a:lnTo>
                    <a:pt x="84" y="98"/>
                  </a:lnTo>
                  <a:lnTo>
                    <a:pt x="92" y="92"/>
                  </a:lnTo>
                  <a:lnTo>
                    <a:pt x="98" y="84"/>
                  </a:lnTo>
                  <a:lnTo>
                    <a:pt x="102" y="74"/>
                  </a:lnTo>
                  <a:lnTo>
                    <a:pt x="106" y="6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4" y="40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6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44" y="78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28" y="64"/>
                  </a:lnTo>
                  <a:lnTo>
                    <a:pt x="26" y="54"/>
                  </a:lnTo>
                  <a:lnTo>
                    <a:pt x="28" y="44"/>
                  </a:lnTo>
                  <a:lnTo>
                    <a:pt x="34" y="34"/>
                  </a:lnTo>
                  <a:lnTo>
                    <a:pt x="68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0" name="Freeform 13">
              <a:extLst>
                <a:ext uri="{FF2B5EF4-FFF2-40B4-BE49-F238E27FC236}">
                  <a16:creationId xmlns:a16="http://schemas.microsoft.com/office/drawing/2014/main" id="{0659234F-7A4D-4252-8A59-298CFE66B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325" y="1838325"/>
              <a:ext cx="485775" cy="485775"/>
            </a:xfrm>
            <a:custGeom>
              <a:avLst/>
              <a:gdLst/>
              <a:ahLst/>
              <a:cxnLst>
                <a:cxn ang="0">
                  <a:pos x="236" y="34"/>
                </a:cxn>
                <a:cxn ang="0">
                  <a:pos x="236" y="24"/>
                </a:cxn>
                <a:cxn ang="0">
                  <a:pos x="196" y="6"/>
                </a:cxn>
                <a:cxn ang="0">
                  <a:pos x="154" y="0"/>
                </a:cxn>
                <a:cxn ang="0">
                  <a:pos x="138" y="2"/>
                </a:cxn>
                <a:cxn ang="0">
                  <a:pos x="108" y="8"/>
                </a:cxn>
                <a:cxn ang="0">
                  <a:pos x="80" y="20"/>
                </a:cxn>
                <a:cxn ang="0">
                  <a:pos x="56" y="36"/>
                </a:cxn>
                <a:cxn ang="0">
                  <a:pos x="36" y="56"/>
                </a:cxn>
                <a:cxn ang="0">
                  <a:pos x="18" y="80"/>
                </a:cxn>
                <a:cxn ang="0">
                  <a:pos x="8" y="108"/>
                </a:cxn>
                <a:cxn ang="0">
                  <a:pos x="2" y="138"/>
                </a:cxn>
                <a:cxn ang="0">
                  <a:pos x="0" y="154"/>
                </a:cxn>
                <a:cxn ang="0">
                  <a:pos x="4" y="184"/>
                </a:cxn>
                <a:cxn ang="0">
                  <a:pos x="12" y="212"/>
                </a:cxn>
                <a:cxn ang="0">
                  <a:pos x="26" y="238"/>
                </a:cxn>
                <a:cxn ang="0">
                  <a:pos x="46" y="262"/>
                </a:cxn>
                <a:cxn ang="0">
                  <a:pos x="68" y="280"/>
                </a:cxn>
                <a:cxn ang="0">
                  <a:pos x="94" y="294"/>
                </a:cxn>
                <a:cxn ang="0">
                  <a:pos x="122" y="304"/>
                </a:cxn>
                <a:cxn ang="0">
                  <a:pos x="154" y="306"/>
                </a:cxn>
                <a:cxn ang="0">
                  <a:pos x="168" y="306"/>
                </a:cxn>
                <a:cxn ang="0">
                  <a:pos x="198" y="300"/>
                </a:cxn>
                <a:cxn ang="0">
                  <a:pos x="226" y="288"/>
                </a:cxn>
                <a:cxn ang="0">
                  <a:pos x="250" y="272"/>
                </a:cxn>
                <a:cxn ang="0">
                  <a:pos x="272" y="250"/>
                </a:cxn>
                <a:cxn ang="0">
                  <a:pos x="288" y="226"/>
                </a:cxn>
                <a:cxn ang="0">
                  <a:pos x="300" y="198"/>
                </a:cxn>
                <a:cxn ang="0">
                  <a:pos x="306" y="170"/>
                </a:cxn>
                <a:cxn ang="0">
                  <a:pos x="306" y="154"/>
                </a:cxn>
                <a:cxn ang="0">
                  <a:pos x="300" y="110"/>
                </a:cxn>
                <a:cxn ang="0">
                  <a:pos x="282" y="72"/>
                </a:cxn>
                <a:cxn ang="0">
                  <a:pos x="276" y="72"/>
                </a:cxn>
                <a:cxn ang="0">
                  <a:pos x="272" y="72"/>
                </a:cxn>
                <a:cxn ang="0">
                  <a:pos x="244" y="100"/>
                </a:cxn>
                <a:cxn ang="0">
                  <a:pos x="256" y="124"/>
                </a:cxn>
                <a:cxn ang="0">
                  <a:pos x="260" y="154"/>
                </a:cxn>
                <a:cxn ang="0">
                  <a:pos x="258" y="174"/>
                </a:cxn>
                <a:cxn ang="0">
                  <a:pos x="242" y="214"/>
                </a:cxn>
                <a:cxn ang="0">
                  <a:pos x="212" y="242"/>
                </a:cxn>
                <a:cxn ang="0">
                  <a:pos x="174" y="258"/>
                </a:cxn>
                <a:cxn ang="0">
                  <a:pos x="154" y="260"/>
                </a:cxn>
                <a:cxn ang="0">
                  <a:pos x="112" y="252"/>
                </a:cxn>
                <a:cxn ang="0">
                  <a:pos x="78" y="228"/>
                </a:cxn>
                <a:cxn ang="0">
                  <a:pos x="54" y="194"/>
                </a:cxn>
                <a:cxn ang="0">
                  <a:pos x="46" y="154"/>
                </a:cxn>
                <a:cxn ang="0">
                  <a:pos x="48" y="132"/>
                </a:cxn>
                <a:cxn ang="0">
                  <a:pos x="64" y="94"/>
                </a:cxn>
                <a:cxn ang="0">
                  <a:pos x="94" y="64"/>
                </a:cxn>
                <a:cxn ang="0">
                  <a:pos x="132" y="48"/>
                </a:cxn>
                <a:cxn ang="0">
                  <a:pos x="154" y="46"/>
                </a:cxn>
                <a:cxn ang="0">
                  <a:pos x="182" y="50"/>
                </a:cxn>
                <a:cxn ang="0">
                  <a:pos x="208" y="62"/>
                </a:cxn>
              </a:cxnLst>
              <a:rect l="0" t="0" r="r" b="b"/>
              <a:pathLst>
                <a:path w="306" h="306">
                  <a:moveTo>
                    <a:pt x="236" y="34"/>
                  </a:moveTo>
                  <a:lnTo>
                    <a:pt x="236" y="3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16" y="14"/>
                  </a:lnTo>
                  <a:lnTo>
                    <a:pt x="196" y="6"/>
                  </a:lnTo>
                  <a:lnTo>
                    <a:pt x="176" y="2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38" y="2"/>
                  </a:lnTo>
                  <a:lnTo>
                    <a:pt x="122" y="4"/>
                  </a:lnTo>
                  <a:lnTo>
                    <a:pt x="108" y="8"/>
                  </a:lnTo>
                  <a:lnTo>
                    <a:pt x="94" y="12"/>
                  </a:lnTo>
                  <a:lnTo>
                    <a:pt x="80" y="20"/>
                  </a:lnTo>
                  <a:lnTo>
                    <a:pt x="68" y="26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36" y="56"/>
                  </a:lnTo>
                  <a:lnTo>
                    <a:pt x="26" y="68"/>
                  </a:lnTo>
                  <a:lnTo>
                    <a:pt x="18" y="80"/>
                  </a:lnTo>
                  <a:lnTo>
                    <a:pt x="12" y="94"/>
                  </a:lnTo>
                  <a:lnTo>
                    <a:pt x="8" y="108"/>
                  </a:lnTo>
                  <a:lnTo>
                    <a:pt x="4" y="122"/>
                  </a:lnTo>
                  <a:lnTo>
                    <a:pt x="2" y="13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70"/>
                  </a:lnTo>
                  <a:lnTo>
                    <a:pt x="4" y="184"/>
                  </a:lnTo>
                  <a:lnTo>
                    <a:pt x="8" y="198"/>
                  </a:lnTo>
                  <a:lnTo>
                    <a:pt x="12" y="212"/>
                  </a:lnTo>
                  <a:lnTo>
                    <a:pt x="18" y="226"/>
                  </a:lnTo>
                  <a:lnTo>
                    <a:pt x="26" y="238"/>
                  </a:lnTo>
                  <a:lnTo>
                    <a:pt x="36" y="250"/>
                  </a:lnTo>
                  <a:lnTo>
                    <a:pt x="46" y="262"/>
                  </a:lnTo>
                  <a:lnTo>
                    <a:pt x="56" y="272"/>
                  </a:lnTo>
                  <a:lnTo>
                    <a:pt x="68" y="280"/>
                  </a:lnTo>
                  <a:lnTo>
                    <a:pt x="80" y="288"/>
                  </a:lnTo>
                  <a:lnTo>
                    <a:pt x="94" y="294"/>
                  </a:lnTo>
                  <a:lnTo>
                    <a:pt x="108" y="300"/>
                  </a:lnTo>
                  <a:lnTo>
                    <a:pt x="122" y="304"/>
                  </a:lnTo>
                  <a:lnTo>
                    <a:pt x="138" y="306"/>
                  </a:lnTo>
                  <a:lnTo>
                    <a:pt x="154" y="306"/>
                  </a:lnTo>
                  <a:lnTo>
                    <a:pt x="154" y="306"/>
                  </a:lnTo>
                  <a:lnTo>
                    <a:pt x="168" y="306"/>
                  </a:lnTo>
                  <a:lnTo>
                    <a:pt x="184" y="304"/>
                  </a:lnTo>
                  <a:lnTo>
                    <a:pt x="198" y="300"/>
                  </a:lnTo>
                  <a:lnTo>
                    <a:pt x="212" y="294"/>
                  </a:lnTo>
                  <a:lnTo>
                    <a:pt x="226" y="288"/>
                  </a:lnTo>
                  <a:lnTo>
                    <a:pt x="238" y="280"/>
                  </a:lnTo>
                  <a:lnTo>
                    <a:pt x="250" y="272"/>
                  </a:lnTo>
                  <a:lnTo>
                    <a:pt x="262" y="262"/>
                  </a:lnTo>
                  <a:lnTo>
                    <a:pt x="272" y="250"/>
                  </a:lnTo>
                  <a:lnTo>
                    <a:pt x="280" y="238"/>
                  </a:lnTo>
                  <a:lnTo>
                    <a:pt x="288" y="226"/>
                  </a:lnTo>
                  <a:lnTo>
                    <a:pt x="294" y="212"/>
                  </a:lnTo>
                  <a:lnTo>
                    <a:pt x="300" y="198"/>
                  </a:lnTo>
                  <a:lnTo>
                    <a:pt x="302" y="184"/>
                  </a:lnTo>
                  <a:lnTo>
                    <a:pt x="306" y="170"/>
                  </a:lnTo>
                  <a:lnTo>
                    <a:pt x="306" y="154"/>
                  </a:lnTo>
                  <a:lnTo>
                    <a:pt x="306" y="154"/>
                  </a:lnTo>
                  <a:lnTo>
                    <a:pt x="304" y="132"/>
                  </a:lnTo>
                  <a:lnTo>
                    <a:pt x="300" y="110"/>
                  </a:lnTo>
                  <a:lnTo>
                    <a:pt x="292" y="90"/>
                  </a:lnTo>
                  <a:lnTo>
                    <a:pt x="282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76" y="72"/>
                  </a:lnTo>
                  <a:lnTo>
                    <a:pt x="272" y="72"/>
                  </a:lnTo>
                  <a:lnTo>
                    <a:pt x="244" y="100"/>
                  </a:lnTo>
                  <a:lnTo>
                    <a:pt x="244" y="100"/>
                  </a:lnTo>
                  <a:lnTo>
                    <a:pt x="252" y="112"/>
                  </a:lnTo>
                  <a:lnTo>
                    <a:pt x="256" y="124"/>
                  </a:lnTo>
                  <a:lnTo>
                    <a:pt x="260" y="138"/>
                  </a:lnTo>
                  <a:lnTo>
                    <a:pt x="260" y="154"/>
                  </a:lnTo>
                  <a:lnTo>
                    <a:pt x="260" y="154"/>
                  </a:lnTo>
                  <a:lnTo>
                    <a:pt x="258" y="174"/>
                  </a:lnTo>
                  <a:lnTo>
                    <a:pt x="252" y="194"/>
                  </a:lnTo>
                  <a:lnTo>
                    <a:pt x="242" y="214"/>
                  </a:lnTo>
                  <a:lnTo>
                    <a:pt x="228" y="228"/>
                  </a:lnTo>
                  <a:lnTo>
                    <a:pt x="212" y="242"/>
                  </a:lnTo>
                  <a:lnTo>
                    <a:pt x="194" y="252"/>
                  </a:lnTo>
                  <a:lnTo>
                    <a:pt x="174" y="258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32" y="258"/>
                  </a:lnTo>
                  <a:lnTo>
                    <a:pt x="112" y="252"/>
                  </a:lnTo>
                  <a:lnTo>
                    <a:pt x="94" y="242"/>
                  </a:lnTo>
                  <a:lnTo>
                    <a:pt x="78" y="228"/>
                  </a:lnTo>
                  <a:lnTo>
                    <a:pt x="64" y="214"/>
                  </a:lnTo>
                  <a:lnTo>
                    <a:pt x="54" y="194"/>
                  </a:lnTo>
                  <a:lnTo>
                    <a:pt x="48" y="174"/>
                  </a:lnTo>
                  <a:lnTo>
                    <a:pt x="46" y="154"/>
                  </a:lnTo>
                  <a:lnTo>
                    <a:pt x="46" y="154"/>
                  </a:lnTo>
                  <a:lnTo>
                    <a:pt x="48" y="132"/>
                  </a:lnTo>
                  <a:lnTo>
                    <a:pt x="54" y="112"/>
                  </a:lnTo>
                  <a:lnTo>
                    <a:pt x="64" y="94"/>
                  </a:lnTo>
                  <a:lnTo>
                    <a:pt x="78" y="78"/>
                  </a:lnTo>
                  <a:lnTo>
                    <a:pt x="94" y="64"/>
                  </a:lnTo>
                  <a:lnTo>
                    <a:pt x="112" y="56"/>
                  </a:lnTo>
                  <a:lnTo>
                    <a:pt x="132" y="48"/>
                  </a:lnTo>
                  <a:lnTo>
                    <a:pt x="154" y="46"/>
                  </a:lnTo>
                  <a:lnTo>
                    <a:pt x="154" y="46"/>
                  </a:lnTo>
                  <a:lnTo>
                    <a:pt x="168" y="48"/>
                  </a:lnTo>
                  <a:lnTo>
                    <a:pt x="182" y="50"/>
                  </a:lnTo>
                  <a:lnTo>
                    <a:pt x="196" y="56"/>
                  </a:lnTo>
                  <a:lnTo>
                    <a:pt x="208" y="62"/>
                  </a:lnTo>
                  <a:lnTo>
                    <a:pt x="236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1" name="Freeform 14">
              <a:extLst>
                <a:ext uri="{FF2B5EF4-FFF2-40B4-BE49-F238E27FC236}">
                  <a16:creationId xmlns:a16="http://schemas.microsoft.com/office/drawing/2014/main" id="{A80E6215-7AC3-4E03-B97E-A8E06C26C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100" y="1689100"/>
              <a:ext cx="787400" cy="787400"/>
            </a:xfrm>
            <a:custGeom>
              <a:avLst/>
              <a:gdLst/>
              <a:ahLst/>
              <a:cxnLst>
                <a:cxn ang="0">
                  <a:pos x="426" y="154"/>
                </a:cxn>
                <a:cxn ang="0">
                  <a:pos x="444" y="198"/>
                </a:cxn>
                <a:cxn ang="0">
                  <a:pos x="450" y="248"/>
                </a:cxn>
                <a:cxn ang="0">
                  <a:pos x="440" y="308"/>
                </a:cxn>
                <a:cxn ang="0">
                  <a:pos x="414" y="360"/>
                </a:cxn>
                <a:cxn ang="0">
                  <a:pos x="376" y="404"/>
                </a:cxn>
                <a:cxn ang="0">
                  <a:pos x="326" y="434"/>
                </a:cxn>
                <a:cxn ang="0">
                  <a:pos x="268" y="448"/>
                </a:cxn>
                <a:cxn ang="0">
                  <a:pos x="226" y="448"/>
                </a:cxn>
                <a:cxn ang="0">
                  <a:pos x="168" y="434"/>
                </a:cxn>
                <a:cxn ang="0">
                  <a:pos x="118" y="404"/>
                </a:cxn>
                <a:cxn ang="0">
                  <a:pos x="80" y="360"/>
                </a:cxn>
                <a:cxn ang="0">
                  <a:pos x="54" y="308"/>
                </a:cxn>
                <a:cxn ang="0">
                  <a:pos x="46" y="248"/>
                </a:cxn>
                <a:cxn ang="0">
                  <a:pos x="50" y="206"/>
                </a:cxn>
                <a:cxn ang="0">
                  <a:pos x="70" y="152"/>
                </a:cxn>
                <a:cxn ang="0">
                  <a:pos x="104" y="104"/>
                </a:cxn>
                <a:cxn ang="0">
                  <a:pos x="152" y="70"/>
                </a:cxn>
                <a:cxn ang="0">
                  <a:pos x="206" y="50"/>
                </a:cxn>
                <a:cxn ang="0">
                  <a:pos x="248" y="46"/>
                </a:cxn>
                <a:cxn ang="0">
                  <a:pos x="318" y="58"/>
                </a:cxn>
                <a:cxn ang="0">
                  <a:pos x="346" y="62"/>
                </a:cxn>
                <a:cxn ang="0">
                  <a:pos x="344" y="20"/>
                </a:cxn>
                <a:cxn ang="0">
                  <a:pos x="248" y="0"/>
                </a:cxn>
                <a:cxn ang="0">
                  <a:pos x="198" y="4"/>
                </a:cxn>
                <a:cxn ang="0">
                  <a:pos x="130" y="30"/>
                </a:cxn>
                <a:cxn ang="0">
                  <a:pos x="72" y="72"/>
                </a:cxn>
                <a:cxn ang="0">
                  <a:pos x="30" y="130"/>
                </a:cxn>
                <a:cxn ang="0">
                  <a:pos x="4" y="198"/>
                </a:cxn>
                <a:cxn ang="0">
                  <a:pos x="0" y="248"/>
                </a:cxn>
                <a:cxn ang="0">
                  <a:pos x="10" y="322"/>
                </a:cxn>
                <a:cxn ang="0">
                  <a:pos x="42" y="386"/>
                </a:cxn>
                <a:cxn ang="0">
                  <a:pos x="90" y="438"/>
                </a:cxn>
                <a:cxn ang="0">
                  <a:pos x="150" y="476"/>
                </a:cxn>
                <a:cxn ang="0">
                  <a:pos x="222" y="494"/>
                </a:cxn>
                <a:cxn ang="0">
                  <a:pos x="272" y="494"/>
                </a:cxn>
                <a:cxn ang="0">
                  <a:pos x="344" y="476"/>
                </a:cxn>
                <a:cxn ang="0">
                  <a:pos x="404" y="438"/>
                </a:cxn>
                <a:cxn ang="0">
                  <a:pos x="452" y="386"/>
                </a:cxn>
                <a:cxn ang="0">
                  <a:pos x="484" y="322"/>
                </a:cxn>
                <a:cxn ang="0">
                  <a:pos x="496" y="248"/>
                </a:cxn>
                <a:cxn ang="0">
                  <a:pos x="486" y="180"/>
                </a:cxn>
                <a:cxn ang="0">
                  <a:pos x="432" y="150"/>
                </a:cxn>
              </a:cxnLst>
              <a:rect l="0" t="0" r="r" b="b"/>
              <a:pathLst>
                <a:path w="496" h="496">
                  <a:moveTo>
                    <a:pt x="432" y="150"/>
                  </a:moveTo>
                  <a:lnTo>
                    <a:pt x="432" y="150"/>
                  </a:lnTo>
                  <a:lnTo>
                    <a:pt x="426" y="154"/>
                  </a:lnTo>
                  <a:lnTo>
                    <a:pt x="426" y="154"/>
                  </a:lnTo>
                  <a:lnTo>
                    <a:pt x="436" y="176"/>
                  </a:lnTo>
                  <a:lnTo>
                    <a:pt x="444" y="198"/>
                  </a:lnTo>
                  <a:lnTo>
                    <a:pt x="448" y="222"/>
                  </a:lnTo>
                  <a:lnTo>
                    <a:pt x="450" y="248"/>
                  </a:lnTo>
                  <a:lnTo>
                    <a:pt x="450" y="248"/>
                  </a:lnTo>
                  <a:lnTo>
                    <a:pt x="448" y="268"/>
                  </a:lnTo>
                  <a:lnTo>
                    <a:pt x="446" y="288"/>
                  </a:lnTo>
                  <a:lnTo>
                    <a:pt x="440" y="308"/>
                  </a:lnTo>
                  <a:lnTo>
                    <a:pt x="434" y="326"/>
                  </a:lnTo>
                  <a:lnTo>
                    <a:pt x="424" y="344"/>
                  </a:lnTo>
                  <a:lnTo>
                    <a:pt x="414" y="360"/>
                  </a:lnTo>
                  <a:lnTo>
                    <a:pt x="404" y="376"/>
                  </a:lnTo>
                  <a:lnTo>
                    <a:pt x="390" y="390"/>
                  </a:lnTo>
                  <a:lnTo>
                    <a:pt x="376" y="404"/>
                  </a:lnTo>
                  <a:lnTo>
                    <a:pt x="360" y="414"/>
                  </a:lnTo>
                  <a:lnTo>
                    <a:pt x="344" y="424"/>
                  </a:lnTo>
                  <a:lnTo>
                    <a:pt x="326" y="434"/>
                  </a:lnTo>
                  <a:lnTo>
                    <a:pt x="308" y="440"/>
                  </a:lnTo>
                  <a:lnTo>
                    <a:pt x="288" y="446"/>
                  </a:lnTo>
                  <a:lnTo>
                    <a:pt x="268" y="448"/>
                  </a:lnTo>
                  <a:lnTo>
                    <a:pt x="248" y="450"/>
                  </a:lnTo>
                  <a:lnTo>
                    <a:pt x="248" y="450"/>
                  </a:lnTo>
                  <a:lnTo>
                    <a:pt x="226" y="448"/>
                  </a:lnTo>
                  <a:lnTo>
                    <a:pt x="206" y="446"/>
                  </a:lnTo>
                  <a:lnTo>
                    <a:pt x="188" y="440"/>
                  </a:lnTo>
                  <a:lnTo>
                    <a:pt x="168" y="434"/>
                  </a:lnTo>
                  <a:lnTo>
                    <a:pt x="152" y="424"/>
                  </a:lnTo>
                  <a:lnTo>
                    <a:pt x="134" y="414"/>
                  </a:lnTo>
                  <a:lnTo>
                    <a:pt x="118" y="404"/>
                  </a:lnTo>
                  <a:lnTo>
                    <a:pt x="104" y="390"/>
                  </a:lnTo>
                  <a:lnTo>
                    <a:pt x="92" y="376"/>
                  </a:lnTo>
                  <a:lnTo>
                    <a:pt x="80" y="360"/>
                  </a:lnTo>
                  <a:lnTo>
                    <a:pt x="70" y="344"/>
                  </a:lnTo>
                  <a:lnTo>
                    <a:pt x="62" y="326"/>
                  </a:lnTo>
                  <a:lnTo>
                    <a:pt x="54" y="308"/>
                  </a:lnTo>
                  <a:lnTo>
                    <a:pt x="50" y="288"/>
                  </a:lnTo>
                  <a:lnTo>
                    <a:pt x="46" y="268"/>
                  </a:lnTo>
                  <a:lnTo>
                    <a:pt x="46" y="248"/>
                  </a:lnTo>
                  <a:lnTo>
                    <a:pt x="46" y="248"/>
                  </a:lnTo>
                  <a:lnTo>
                    <a:pt x="46" y="226"/>
                  </a:lnTo>
                  <a:lnTo>
                    <a:pt x="50" y="206"/>
                  </a:lnTo>
                  <a:lnTo>
                    <a:pt x="54" y="188"/>
                  </a:lnTo>
                  <a:lnTo>
                    <a:pt x="62" y="168"/>
                  </a:lnTo>
                  <a:lnTo>
                    <a:pt x="70" y="152"/>
                  </a:lnTo>
                  <a:lnTo>
                    <a:pt x="80" y="134"/>
                  </a:lnTo>
                  <a:lnTo>
                    <a:pt x="92" y="120"/>
                  </a:lnTo>
                  <a:lnTo>
                    <a:pt x="104" y="104"/>
                  </a:lnTo>
                  <a:lnTo>
                    <a:pt x="118" y="92"/>
                  </a:lnTo>
                  <a:lnTo>
                    <a:pt x="134" y="80"/>
                  </a:lnTo>
                  <a:lnTo>
                    <a:pt x="152" y="70"/>
                  </a:lnTo>
                  <a:lnTo>
                    <a:pt x="168" y="62"/>
                  </a:lnTo>
                  <a:lnTo>
                    <a:pt x="188" y="54"/>
                  </a:lnTo>
                  <a:lnTo>
                    <a:pt x="206" y="50"/>
                  </a:lnTo>
                  <a:lnTo>
                    <a:pt x="226" y="46"/>
                  </a:lnTo>
                  <a:lnTo>
                    <a:pt x="248" y="46"/>
                  </a:lnTo>
                  <a:lnTo>
                    <a:pt x="248" y="46"/>
                  </a:lnTo>
                  <a:lnTo>
                    <a:pt x="272" y="46"/>
                  </a:lnTo>
                  <a:lnTo>
                    <a:pt x="296" y="52"/>
                  </a:lnTo>
                  <a:lnTo>
                    <a:pt x="318" y="5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6" y="62"/>
                  </a:lnTo>
                  <a:lnTo>
                    <a:pt x="374" y="34"/>
                  </a:lnTo>
                  <a:lnTo>
                    <a:pt x="374" y="34"/>
                  </a:lnTo>
                  <a:lnTo>
                    <a:pt x="344" y="20"/>
                  </a:lnTo>
                  <a:lnTo>
                    <a:pt x="314" y="8"/>
                  </a:lnTo>
                  <a:lnTo>
                    <a:pt x="282" y="2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22" y="0"/>
                  </a:lnTo>
                  <a:lnTo>
                    <a:pt x="198" y="4"/>
                  </a:lnTo>
                  <a:lnTo>
                    <a:pt x="174" y="10"/>
                  </a:lnTo>
                  <a:lnTo>
                    <a:pt x="150" y="18"/>
                  </a:lnTo>
                  <a:lnTo>
                    <a:pt x="130" y="30"/>
                  </a:lnTo>
                  <a:lnTo>
                    <a:pt x="108" y="42"/>
                  </a:lnTo>
                  <a:lnTo>
                    <a:pt x="90" y="56"/>
                  </a:lnTo>
                  <a:lnTo>
                    <a:pt x="72" y="72"/>
                  </a:lnTo>
                  <a:lnTo>
                    <a:pt x="56" y="90"/>
                  </a:lnTo>
                  <a:lnTo>
                    <a:pt x="42" y="108"/>
                  </a:lnTo>
                  <a:lnTo>
                    <a:pt x="30" y="130"/>
                  </a:lnTo>
                  <a:lnTo>
                    <a:pt x="18" y="150"/>
                  </a:lnTo>
                  <a:lnTo>
                    <a:pt x="10" y="174"/>
                  </a:lnTo>
                  <a:lnTo>
                    <a:pt x="4" y="198"/>
                  </a:lnTo>
                  <a:lnTo>
                    <a:pt x="0" y="222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72"/>
                  </a:lnTo>
                  <a:lnTo>
                    <a:pt x="4" y="298"/>
                  </a:lnTo>
                  <a:lnTo>
                    <a:pt x="10" y="322"/>
                  </a:lnTo>
                  <a:lnTo>
                    <a:pt x="18" y="344"/>
                  </a:lnTo>
                  <a:lnTo>
                    <a:pt x="30" y="366"/>
                  </a:lnTo>
                  <a:lnTo>
                    <a:pt x="42" y="386"/>
                  </a:lnTo>
                  <a:lnTo>
                    <a:pt x="56" y="406"/>
                  </a:lnTo>
                  <a:lnTo>
                    <a:pt x="72" y="422"/>
                  </a:lnTo>
                  <a:lnTo>
                    <a:pt x="90" y="438"/>
                  </a:lnTo>
                  <a:lnTo>
                    <a:pt x="108" y="454"/>
                  </a:lnTo>
                  <a:lnTo>
                    <a:pt x="130" y="466"/>
                  </a:lnTo>
                  <a:lnTo>
                    <a:pt x="150" y="476"/>
                  </a:lnTo>
                  <a:lnTo>
                    <a:pt x="174" y="484"/>
                  </a:lnTo>
                  <a:lnTo>
                    <a:pt x="198" y="490"/>
                  </a:lnTo>
                  <a:lnTo>
                    <a:pt x="222" y="494"/>
                  </a:lnTo>
                  <a:lnTo>
                    <a:pt x="248" y="496"/>
                  </a:lnTo>
                  <a:lnTo>
                    <a:pt x="248" y="496"/>
                  </a:lnTo>
                  <a:lnTo>
                    <a:pt x="272" y="494"/>
                  </a:lnTo>
                  <a:lnTo>
                    <a:pt x="298" y="490"/>
                  </a:lnTo>
                  <a:lnTo>
                    <a:pt x="320" y="484"/>
                  </a:lnTo>
                  <a:lnTo>
                    <a:pt x="344" y="476"/>
                  </a:lnTo>
                  <a:lnTo>
                    <a:pt x="366" y="466"/>
                  </a:lnTo>
                  <a:lnTo>
                    <a:pt x="386" y="454"/>
                  </a:lnTo>
                  <a:lnTo>
                    <a:pt x="404" y="438"/>
                  </a:lnTo>
                  <a:lnTo>
                    <a:pt x="422" y="422"/>
                  </a:lnTo>
                  <a:lnTo>
                    <a:pt x="438" y="406"/>
                  </a:lnTo>
                  <a:lnTo>
                    <a:pt x="452" y="386"/>
                  </a:lnTo>
                  <a:lnTo>
                    <a:pt x="466" y="366"/>
                  </a:lnTo>
                  <a:lnTo>
                    <a:pt x="476" y="344"/>
                  </a:lnTo>
                  <a:lnTo>
                    <a:pt x="484" y="322"/>
                  </a:lnTo>
                  <a:lnTo>
                    <a:pt x="490" y="298"/>
                  </a:lnTo>
                  <a:lnTo>
                    <a:pt x="494" y="272"/>
                  </a:lnTo>
                  <a:lnTo>
                    <a:pt x="496" y="248"/>
                  </a:lnTo>
                  <a:lnTo>
                    <a:pt x="496" y="248"/>
                  </a:lnTo>
                  <a:lnTo>
                    <a:pt x="494" y="214"/>
                  </a:lnTo>
                  <a:lnTo>
                    <a:pt x="486" y="180"/>
                  </a:lnTo>
                  <a:lnTo>
                    <a:pt x="476" y="150"/>
                  </a:lnTo>
                  <a:lnTo>
                    <a:pt x="460" y="122"/>
                  </a:lnTo>
                  <a:lnTo>
                    <a:pt x="432" y="1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2" name="Freeform 15">
              <a:extLst>
                <a:ext uri="{FF2B5EF4-FFF2-40B4-BE49-F238E27FC236}">
                  <a16:creationId xmlns:a16="http://schemas.microsoft.com/office/drawing/2014/main" id="{2BB9ABE5-F5CD-49EA-B5C7-796899F9B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575" y="1666875"/>
              <a:ext cx="438150" cy="434975"/>
            </a:xfrm>
            <a:custGeom>
              <a:avLst/>
              <a:gdLst/>
              <a:ahLst/>
              <a:cxnLst>
                <a:cxn ang="0">
                  <a:pos x="238" y="36"/>
                </a:cxn>
                <a:cxn ang="0">
                  <a:pos x="238" y="36"/>
                </a:cxn>
                <a:cxn ang="0">
                  <a:pos x="234" y="30"/>
                </a:cxn>
                <a:cxn ang="0">
                  <a:pos x="230" y="22"/>
                </a:cxn>
                <a:cxn ang="0">
                  <a:pos x="228" y="8"/>
                </a:cxn>
                <a:cxn ang="0">
                  <a:pos x="226" y="2"/>
                </a:cxn>
                <a:cxn ang="0">
                  <a:pos x="224" y="0"/>
                </a:cxn>
                <a:cxn ang="0">
                  <a:pos x="220" y="0"/>
                </a:cxn>
                <a:cxn ang="0">
                  <a:pos x="216" y="4"/>
                </a:cxn>
                <a:cxn ang="0">
                  <a:pos x="126" y="92"/>
                </a:cxn>
                <a:cxn ang="0">
                  <a:pos x="126" y="92"/>
                </a:cxn>
                <a:cxn ang="0">
                  <a:pos x="122" y="102"/>
                </a:cxn>
                <a:cxn ang="0">
                  <a:pos x="118" y="114"/>
                </a:cxn>
                <a:cxn ang="0">
                  <a:pos x="118" y="126"/>
                </a:cxn>
                <a:cxn ang="0">
                  <a:pos x="118" y="138"/>
                </a:cxn>
                <a:cxn ang="0">
                  <a:pos x="4" y="252"/>
                </a:cxn>
                <a:cxn ang="0">
                  <a:pos x="4" y="252"/>
                </a:cxn>
                <a:cxn ang="0">
                  <a:pos x="2" y="256"/>
                </a:cxn>
                <a:cxn ang="0">
                  <a:pos x="0" y="262"/>
                </a:cxn>
                <a:cxn ang="0">
                  <a:pos x="2" y="266"/>
                </a:cxn>
                <a:cxn ang="0">
                  <a:pos x="4" y="270"/>
                </a:cxn>
                <a:cxn ang="0">
                  <a:pos x="4" y="270"/>
                </a:cxn>
                <a:cxn ang="0">
                  <a:pos x="8" y="274"/>
                </a:cxn>
                <a:cxn ang="0">
                  <a:pos x="14" y="274"/>
                </a:cxn>
                <a:cxn ang="0">
                  <a:pos x="14" y="274"/>
                </a:cxn>
                <a:cxn ang="0">
                  <a:pos x="18" y="274"/>
                </a:cxn>
                <a:cxn ang="0">
                  <a:pos x="22" y="270"/>
                </a:cxn>
                <a:cxn ang="0">
                  <a:pos x="134" y="158"/>
                </a:cxn>
                <a:cxn ang="0">
                  <a:pos x="134" y="158"/>
                </a:cxn>
                <a:cxn ang="0">
                  <a:pos x="148" y="158"/>
                </a:cxn>
                <a:cxn ang="0">
                  <a:pos x="164" y="156"/>
                </a:cxn>
                <a:cxn ang="0">
                  <a:pos x="176" y="152"/>
                </a:cxn>
                <a:cxn ang="0">
                  <a:pos x="182" y="148"/>
                </a:cxn>
                <a:cxn ang="0">
                  <a:pos x="272" y="58"/>
                </a:cxn>
                <a:cxn ang="0">
                  <a:pos x="272" y="58"/>
                </a:cxn>
                <a:cxn ang="0">
                  <a:pos x="276" y="54"/>
                </a:cxn>
                <a:cxn ang="0">
                  <a:pos x="276" y="52"/>
                </a:cxn>
                <a:cxn ang="0">
                  <a:pos x="272" y="50"/>
                </a:cxn>
                <a:cxn ang="0">
                  <a:pos x="266" y="48"/>
                </a:cxn>
                <a:cxn ang="0">
                  <a:pos x="252" y="44"/>
                </a:cxn>
                <a:cxn ang="0">
                  <a:pos x="244" y="42"/>
                </a:cxn>
                <a:cxn ang="0">
                  <a:pos x="238" y="36"/>
                </a:cxn>
                <a:cxn ang="0">
                  <a:pos x="238" y="36"/>
                </a:cxn>
              </a:cxnLst>
              <a:rect l="0" t="0" r="r" b="b"/>
              <a:pathLst>
                <a:path w="276" h="274">
                  <a:moveTo>
                    <a:pt x="238" y="36"/>
                  </a:moveTo>
                  <a:lnTo>
                    <a:pt x="238" y="36"/>
                  </a:lnTo>
                  <a:lnTo>
                    <a:pt x="234" y="30"/>
                  </a:lnTo>
                  <a:lnTo>
                    <a:pt x="230" y="22"/>
                  </a:lnTo>
                  <a:lnTo>
                    <a:pt x="228" y="8"/>
                  </a:lnTo>
                  <a:lnTo>
                    <a:pt x="226" y="2"/>
                  </a:lnTo>
                  <a:lnTo>
                    <a:pt x="224" y="0"/>
                  </a:lnTo>
                  <a:lnTo>
                    <a:pt x="220" y="0"/>
                  </a:lnTo>
                  <a:lnTo>
                    <a:pt x="216" y="4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2" y="102"/>
                  </a:lnTo>
                  <a:lnTo>
                    <a:pt x="118" y="114"/>
                  </a:lnTo>
                  <a:lnTo>
                    <a:pt x="118" y="126"/>
                  </a:lnTo>
                  <a:lnTo>
                    <a:pt x="118" y="138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2" y="256"/>
                  </a:lnTo>
                  <a:lnTo>
                    <a:pt x="0" y="262"/>
                  </a:lnTo>
                  <a:lnTo>
                    <a:pt x="2" y="266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8" y="274"/>
                  </a:lnTo>
                  <a:lnTo>
                    <a:pt x="14" y="274"/>
                  </a:lnTo>
                  <a:lnTo>
                    <a:pt x="14" y="274"/>
                  </a:lnTo>
                  <a:lnTo>
                    <a:pt x="18" y="274"/>
                  </a:lnTo>
                  <a:lnTo>
                    <a:pt x="22" y="270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48" y="158"/>
                  </a:lnTo>
                  <a:lnTo>
                    <a:pt x="164" y="156"/>
                  </a:lnTo>
                  <a:lnTo>
                    <a:pt x="176" y="152"/>
                  </a:lnTo>
                  <a:lnTo>
                    <a:pt x="182" y="148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6" y="54"/>
                  </a:lnTo>
                  <a:lnTo>
                    <a:pt x="276" y="52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2" y="44"/>
                  </a:lnTo>
                  <a:lnTo>
                    <a:pt x="244" y="42"/>
                  </a:lnTo>
                  <a:lnTo>
                    <a:pt x="238" y="36"/>
                  </a:lnTo>
                  <a:lnTo>
                    <a:pt x="238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198B5F73-6B5F-409E-9C1E-BB818CFD08E1}"/>
              </a:ext>
            </a:extLst>
          </p:cNvPr>
          <p:cNvGrpSpPr/>
          <p:nvPr/>
        </p:nvGrpSpPr>
        <p:grpSpPr>
          <a:xfrm>
            <a:off x="844069" y="4105326"/>
            <a:ext cx="324000" cy="252000"/>
            <a:chOff x="3317875" y="3657600"/>
            <a:chExt cx="1179513" cy="877888"/>
          </a:xfrm>
          <a:solidFill>
            <a:schemeClr val="bg1"/>
          </a:solidFill>
        </p:grpSpPr>
        <p:sp>
          <p:nvSpPr>
            <p:cNvPr id="404" name="Freeform 42">
              <a:extLst>
                <a:ext uri="{FF2B5EF4-FFF2-40B4-BE49-F238E27FC236}">
                  <a16:creationId xmlns:a16="http://schemas.microsoft.com/office/drawing/2014/main" id="{883DB35F-1ADC-4F27-A2C3-4AAB279FA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4179888"/>
              <a:ext cx="366712" cy="182563"/>
            </a:xfrm>
            <a:custGeom>
              <a:avLst/>
              <a:gdLst/>
              <a:ahLst/>
              <a:cxnLst>
                <a:cxn ang="0">
                  <a:pos x="114" y="115"/>
                </a:cxn>
                <a:cxn ang="0">
                  <a:pos x="114" y="115"/>
                </a:cxn>
                <a:cxn ang="0">
                  <a:pos x="127" y="115"/>
                </a:cxn>
                <a:cxn ang="0">
                  <a:pos x="138" y="113"/>
                </a:cxn>
                <a:cxn ang="0">
                  <a:pos x="149" y="109"/>
                </a:cxn>
                <a:cxn ang="0">
                  <a:pos x="160" y="106"/>
                </a:cxn>
                <a:cxn ang="0">
                  <a:pos x="179" y="96"/>
                </a:cxn>
                <a:cxn ang="0">
                  <a:pos x="197" y="82"/>
                </a:cxn>
                <a:cxn ang="0">
                  <a:pos x="210" y="65"/>
                </a:cxn>
                <a:cxn ang="0">
                  <a:pos x="221" y="45"/>
                </a:cxn>
                <a:cxn ang="0">
                  <a:pos x="225" y="33"/>
                </a:cxn>
                <a:cxn ang="0">
                  <a:pos x="229" y="22"/>
                </a:cxn>
                <a:cxn ang="0">
                  <a:pos x="231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2"/>
                </a:cxn>
                <a:cxn ang="0">
                  <a:pos x="5" y="33"/>
                </a:cxn>
                <a:cxn ang="0">
                  <a:pos x="9" y="45"/>
                </a:cxn>
                <a:cxn ang="0">
                  <a:pos x="20" y="65"/>
                </a:cxn>
                <a:cxn ang="0">
                  <a:pos x="33" y="82"/>
                </a:cxn>
                <a:cxn ang="0">
                  <a:pos x="50" y="96"/>
                </a:cxn>
                <a:cxn ang="0">
                  <a:pos x="70" y="106"/>
                </a:cxn>
                <a:cxn ang="0">
                  <a:pos x="81" y="109"/>
                </a:cxn>
                <a:cxn ang="0">
                  <a:pos x="92" y="113"/>
                </a:cxn>
                <a:cxn ang="0">
                  <a:pos x="103" y="115"/>
                </a:cxn>
                <a:cxn ang="0">
                  <a:pos x="114" y="115"/>
                </a:cxn>
                <a:cxn ang="0">
                  <a:pos x="114" y="115"/>
                </a:cxn>
              </a:cxnLst>
              <a:rect l="0" t="0" r="r" b="b"/>
              <a:pathLst>
                <a:path w="231" h="115">
                  <a:moveTo>
                    <a:pt x="114" y="115"/>
                  </a:moveTo>
                  <a:lnTo>
                    <a:pt x="114" y="115"/>
                  </a:lnTo>
                  <a:lnTo>
                    <a:pt x="127" y="115"/>
                  </a:lnTo>
                  <a:lnTo>
                    <a:pt x="138" y="113"/>
                  </a:lnTo>
                  <a:lnTo>
                    <a:pt x="149" y="109"/>
                  </a:lnTo>
                  <a:lnTo>
                    <a:pt x="160" y="106"/>
                  </a:lnTo>
                  <a:lnTo>
                    <a:pt x="179" y="96"/>
                  </a:lnTo>
                  <a:lnTo>
                    <a:pt x="197" y="82"/>
                  </a:lnTo>
                  <a:lnTo>
                    <a:pt x="210" y="65"/>
                  </a:lnTo>
                  <a:lnTo>
                    <a:pt x="221" y="45"/>
                  </a:lnTo>
                  <a:lnTo>
                    <a:pt x="225" y="33"/>
                  </a:lnTo>
                  <a:lnTo>
                    <a:pt x="229" y="22"/>
                  </a:lnTo>
                  <a:lnTo>
                    <a:pt x="231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2"/>
                  </a:lnTo>
                  <a:lnTo>
                    <a:pt x="5" y="33"/>
                  </a:lnTo>
                  <a:lnTo>
                    <a:pt x="9" y="45"/>
                  </a:lnTo>
                  <a:lnTo>
                    <a:pt x="20" y="65"/>
                  </a:lnTo>
                  <a:lnTo>
                    <a:pt x="33" y="82"/>
                  </a:lnTo>
                  <a:lnTo>
                    <a:pt x="50" y="96"/>
                  </a:lnTo>
                  <a:lnTo>
                    <a:pt x="70" y="106"/>
                  </a:lnTo>
                  <a:lnTo>
                    <a:pt x="81" y="109"/>
                  </a:lnTo>
                  <a:lnTo>
                    <a:pt x="92" y="113"/>
                  </a:lnTo>
                  <a:lnTo>
                    <a:pt x="103" y="115"/>
                  </a:lnTo>
                  <a:lnTo>
                    <a:pt x="114" y="115"/>
                  </a:lnTo>
                  <a:lnTo>
                    <a:pt x="114" y="1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43">
              <a:extLst>
                <a:ext uri="{FF2B5EF4-FFF2-40B4-BE49-F238E27FC236}">
                  <a16:creationId xmlns:a16="http://schemas.microsoft.com/office/drawing/2014/main" id="{23FBAC07-7DC6-484F-B896-133C1106F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141788"/>
              <a:ext cx="390525" cy="30163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4" y="15"/>
                </a:cxn>
                <a:cxn ang="0">
                  <a:pos x="6" y="17"/>
                </a:cxn>
                <a:cxn ang="0">
                  <a:pos x="9" y="19"/>
                </a:cxn>
                <a:cxn ang="0">
                  <a:pos x="237" y="19"/>
                </a:cxn>
                <a:cxn ang="0">
                  <a:pos x="237" y="19"/>
                </a:cxn>
                <a:cxn ang="0">
                  <a:pos x="240" y="17"/>
                </a:cxn>
                <a:cxn ang="0">
                  <a:pos x="242" y="15"/>
                </a:cxn>
                <a:cxn ang="0">
                  <a:pos x="244" y="13"/>
                </a:cxn>
                <a:cxn ang="0">
                  <a:pos x="246" y="9"/>
                </a:cxn>
                <a:cxn ang="0">
                  <a:pos x="246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40" y="0"/>
                </a:cxn>
                <a:cxn ang="0">
                  <a:pos x="237" y="0"/>
                </a:cxn>
                <a:cxn ang="0">
                  <a:pos x="237" y="0"/>
                </a:cxn>
              </a:cxnLst>
              <a:rect l="0" t="0" r="r" b="b"/>
              <a:pathLst>
                <a:path w="246" h="19">
                  <a:moveTo>
                    <a:pt x="237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9" y="19"/>
                  </a:lnTo>
                  <a:lnTo>
                    <a:pt x="237" y="19"/>
                  </a:lnTo>
                  <a:lnTo>
                    <a:pt x="237" y="19"/>
                  </a:lnTo>
                  <a:lnTo>
                    <a:pt x="240" y="17"/>
                  </a:lnTo>
                  <a:lnTo>
                    <a:pt x="242" y="15"/>
                  </a:lnTo>
                  <a:lnTo>
                    <a:pt x="244" y="13"/>
                  </a:lnTo>
                  <a:lnTo>
                    <a:pt x="246" y="9"/>
                  </a:lnTo>
                  <a:lnTo>
                    <a:pt x="246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40" y="0"/>
                  </a:lnTo>
                  <a:lnTo>
                    <a:pt x="237" y="0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6" name="Freeform 44">
              <a:extLst>
                <a:ext uri="{FF2B5EF4-FFF2-40B4-BE49-F238E27FC236}">
                  <a16:creationId xmlns:a16="http://schemas.microsoft.com/office/drawing/2014/main" id="{BF2124DC-330F-4E98-AAC6-F9A410E3F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4464050"/>
              <a:ext cx="371475" cy="71438"/>
            </a:xfrm>
            <a:custGeom>
              <a:avLst/>
              <a:gdLst/>
              <a:ahLst/>
              <a:cxnLst>
                <a:cxn ang="0">
                  <a:pos x="205" y="0"/>
                </a:cxn>
                <a:cxn ang="0">
                  <a:pos x="29" y="0"/>
                </a:cxn>
                <a:cxn ang="0">
                  <a:pos x="29" y="0"/>
                </a:cxn>
                <a:cxn ang="0">
                  <a:pos x="24" y="0"/>
                </a:cxn>
                <a:cxn ang="0">
                  <a:pos x="18" y="2"/>
                </a:cxn>
                <a:cxn ang="0">
                  <a:pos x="9" y="8"/>
                </a:cxn>
                <a:cxn ang="0">
                  <a:pos x="2" y="17"/>
                </a:cxn>
                <a:cxn ang="0">
                  <a:pos x="0" y="23"/>
                </a:cxn>
                <a:cxn ang="0">
                  <a:pos x="0" y="28"/>
                </a:cxn>
                <a:cxn ang="0">
                  <a:pos x="0" y="45"/>
                </a:cxn>
                <a:cxn ang="0">
                  <a:pos x="234" y="45"/>
                </a:cxn>
                <a:cxn ang="0">
                  <a:pos x="234" y="28"/>
                </a:cxn>
                <a:cxn ang="0">
                  <a:pos x="234" y="28"/>
                </a:cxn>
                <a:cxn ang="0">
                  <a:pos x="234" y="23"/>
                </a:cxn>
                <a:cxn ang="0">
                  <a:pos x="233" y="17"/>
                </a:cxn>
                <a:cxn ang="0">
                  <a:pos x="225" y="8"/>
                </a:cxn>
                <a:cxn ang="0">
                  <a:pos x="216" y="2"/>
                </a:cxn>
                <a:cxn ang="0">
                  <a:pos x="210" y="0"/>
                </a:cxn>
                <a:cxn ang="0">
                  <a:pos x="205" y="0"/>
                </a:cxn>
                <a:cxn ang="0">
                  <a:pos x="205" y="0"/>
                </a:cxn>
              </a:cxnLst>
              <a:rect l="0" t="0" r="r" b="b"/>
              <a:pathLst>
                <a:path w="234" h="45">
                  <a:moveTo>
                    <a:pt x="205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9" y="8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45"/>
                  </a:lnTo>
                  <a:lnTo>
                    <a:pt x="234" y="45"/>
                  </a:lnTo>
                  <a:lnTo>
                    <a:pt x="234" y="28"/>
                  </a:lnTo>
                  <a:lnTo>
                    <a:pt x="234" y="28"/>
                  </a:lnTo>
                  <a:lnTo>
                    <a:pt x="234" y="23"/>
                  </a:lnTo>
                  <a:lnTo>
                    <a:pt x="233" y="17"/>
                  </a:lnTo>
                  <a:lnTo>
                    <a:pt x="225" y="8"/>
                  </a:lnTo>
                  <a:lnTo>
                    <a:pt x="216" y="2"/>
                  </a:lnTo>
                  <a:lnTo>
                    <a:pt x="210" y="0"/>
                  </a:lnTo>
                  <a:lnTo>
                    <a:pt x="205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7" name="Freeform 45">
              <a:extLst>
                <a:ext uri="{FF2B5EF4-FFF2-40B4-BE49-F238E27FC236}">
                  <a16:creationId xmlns:a16="http://schemas.microsoft.com/office/drawing/2014/main" id="{5CDE3C38-6981-4308-8C76-E9E137C0D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13" y="4324350"/>
              <a:ext cx="254000" cy="128588"/>
            </a:xfrm>
            <a:custGeom>
              <a:avLst/>
              <a:gdLst/>
              <a:ahLst/>
              <a:cxnLst>
                <a:cxn ang="0">
                  <a:pos x="160" y="81"/>
                </a:cxn>
                <a:cxn ang="0">
                  <a:pos x="160" y="81"/>
                </a:cxn>
                <a:cxn ang="0">
                  <a:pos x="159" y="64"/>
                </a:cxn>
                <a:cxn ang="0">
                  <a:pos x="155" y="50"/>
                </a:cxn>
                <a:cxn ang="0">
                  <a:pos x="148" y="35"/>
                </a:cxn>
                <a:cxn ang="0">
                  <a:pos x="136" y="24"/>
                </a:cxn>
                <a:cxn ang="0">
                  <a:pos x="125" y="15"/>
                </a:cxn>
                <a:cxn ang="0">
                  <a:pos x="112" y="7"/>
                </a:cxn>
                <a:cxn ang="0">
                  <a:pos x="96" y="2"/>
                </a:cxn>
                <a:cxn ang="0">
                  <a:pos x="81" y="0"/>
                </a:cxn>
                <a:cxn ang="0">
                  <a:pos x="81" y="0"/>
                </a:cxn>
                <a:cxn ang="0">
                  <a:pos x="64" y="2"/>
                </a:cxn>
                <a:cxn ang="0">
                  <a:pos x="50" y="7"/>
                </a:cxn>
                <a:cxn ang="0">
                  <a:pos x="35" y="15"/>
                </a:cxn>
                <a:cxn ang="0">
                  <a:pos x="24" y="24"/>
                </a:cxn>
                <a:cxn ang="0">
                  <a:pos x="13" y="35"/>
                </a:cxn>
                <a:cxn ang="0">
                  <a:pos x="5" y="50"/>
                </a:cxn>
                <a:cxn ang="0">
                  <a:pos x="2" y="64"/>
                </a:cxn>
                <a:cxn ang="0">
                  <a:pos x="0" y="81"/>
                </a:cxn>
                <a:cxn ang="0">
                  <a:pos x="160" y="81"/>
                </a:cxn>
              </a:cxnLst>
              <a:rect l="0" t="0" r="r" b="b"/>
              <a:pathLst>
                <a:path w="160" h="81">
                  <a:moveTo>
                    <a:pt x="160" y="81"/>
                  </a:moveTo>
                  <a:lnTo>
                    <a:pt x="160" y="81"/>
                  </a:lnTo>
                  <a:lnTo>
                    <a:pt x="159" y="64"/>
                  </a:lnTo>
                  <a:lnTo>
                    <a:pt x="155" y="50"/>
                  </a:lnTo>
                  <a:lnTo>
                    <a:pt x="148" y="35"/>
                  </a:lnTo>
                  <a:lnTo>
                    <a:pt x="136" y="24"/>
                  </a:lnTo>
                  <a:lnTo>
                    <a:pt x="125" y="15"/>
                  </a:lnTo>
                  <a:lnTo>
                    <a:pt x="112" y="7"/>
                  </a:lnTo>
                  <a:lnTo>
                    <a:pt x="96" y="2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64" y="2"/>
                  </a:lnTo>
                  <a:lnTo>
                    <a:pt x="50" y="7"/>
                  </a:lnTo>
                  <a:lnTo>
                    <a:pt x="35" y="15"/>
                  </a:lnTo>
                  <a:lnTo>
                    <a:pt x="24" y="24"/>
                  </a:lnTo>
                  <a:lnTo>
                    <a:pt x="13" y="35"/>
                  </a:lnTo>
                  <a:lnTo>
                    <a:pt x="5" y="50"/>
                  </a:lnTo>
                  <a:lnTo>
                    <a:pt x="2" y="64"/>
                  </a:lnTo>
                  <a:lnTo>
                    <a:pt x="0" y="81"/>
                  </a:lnTo>
                  <a:lnTo>
                    <a:pt x="160" y="8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8" name="Freeform 46">
              <a:extLst>
                <a:ext uri="{FF2B5EF4-FFF2-40B4-BE49-F238E27FC236}">
                  <a16:creationId xmlns:a16="http://schemas.microsoft.com/office/drawing/2014/main" id="{881F8CB3-5FA1-4FCC-87C5-336552EF6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3751263"/>
              <a:ext cx="260350" cy="117475"/>
            </a:xfrm>
            <a:custGeom>
              <a:avLst/>
              <a:gdLst/>
              <a:ahLst/>
              <a:cxnLst>
                <a:cxn ang="0">
                  <a:pos x="22" y="74"/>
                </a:cxn>
                <a:cxn ang="0">
                  <a:pos x="22" y="74"/>
                </a:cxn>
                <a:cxn ang="0">
                  <a:pos x="51" y="61"/>
                </a:cxn>
                <a:cxn ang="0">
                  <a:pos x="81" y="48"/>
                </a:cxn>
                <a:cxn ang="0">
                  <a:pos x="81" y="48"/>
                </a:cxn>
                <a:cxn ang="0">
                  <a:pos x="94" y="45"/>
                </a:cxn>
                <a:cxn ang="0">
                  <a:pos x="94" y="45"/>
                </a:cxn>
                <a:cxn ang="0">
                  <a:pos x="101" y="43"/>
                </a:cxn>
                <a:cxn ang="0">
                  <a:pos x="101" y="43"/>
                </a:cxn>
                <a:cxn ang="0">
                  <a:pos x="112" y="39"/>
                </a:cxn>
                <a:cxn ang="0">
                  <a:pos x="112" y="39"/>
                </a:cxn>
                <a:cxn ang="0">
                  <a:pos x="120" y="37"/>
                </a:cxn>
                <a:cxn ang="0">
                  <a:pos x="120" y="37"/>
                </a:cxn>
                <a:cxn ang="0">
                  <a:pos x="133" y="34"/>
                </a:cxn>
                <a:cxn ang="0">
                  <a:pos x="133" y="34"/>
                </a:cxn>
                <a:cxn ang="0">
                  <a:pos x="138" y="34"/>
                </a:cxn>
                <a:cxn ang="0">
                  <a:pos x="138" y="34"/>
                </a:cxn>
                <a:cxn ang="0">
                  <a:pos x="159" y="30"/>
                </a:cxn>
                <a:cxn ang="0">
                  <a:pos x="159" y="30"/>
                </a:cxn>
                <a:cxn ang="0">
                  <a:pos x="159" y="26"/>
                </a:cxn>
                <a:cxn ang="0">
                  <a:pos x="159" y="26"/>
                </a:cxn>
                <a:cxn ang="0">
                  <a:pos x="159" y="13"/>
                </a:cxn>
                <a:cxn ang="0">
                  <a:pos x="164" y="0"/>
                </a:cxn>
                <a:cxn ang="0">
                  <a:pos x="164" y="0"/>
                </a:cxn>
                <a:cxn ang="0">
                  <a:pos x="144" y="2"/>
                </a:cxn>
                <a:cxn ang="0">
                  <a:pos x="144" y="2"/>
                </a:cxn>
                <a:cxn ang="0">
                  <a:pos x="138" y="4"/>
                </a:cxn>
                <a:cxn ang="0">
                  <a:pos x="138" y="4"/>
                </a:cxn>
                <a:cxn ang="0">
                  <a:pos x="125" y="6"/>
                </a:cxn>
                <a:cxn ang="0">
                  <a:pos x="125" y="6"/>
                </a:cxn>
                <a:cxn ang="0">
                  <a:pos x="118" y="8"/>
                </a:cxn>
                <a:cxn ang="0">
                  <a:pos x="118" y="8"/>
                </a:cxn>
                <a:cxn ang="0">
                  <a:pos x="105" y="11"/>
                </a:cxn>
                <a:cxn ang="0">
                  <a:pos x="105" y="11"/>
                </a:cxn>
                <a:cxn ang="0">
                  <a:pos x="98" y="13"/>
                </a:cxn>
                <a:cxn ang="0">
                  <a:pos x="98" y="13"/>
                </a:cxn>
                <a:cxn ang="0">
                  <a:pos x="85" y="17"/>
                </a:cxn>
                <a:cxn ang="0">
                  <a:pos x="85" y="17"/>
                </a:cxn>
                <a:cxn ang="0">
                  <a:pos x="79" y="19"/>
                </a:cxn>
                <a:cxn ang="0">
                  <a:pos x="79" y="19"/>
                </a:cxn>
                <a:cxn ang="0">
                  <a:pos x="61" y="24"/>
                </a:cxn>
                <a:cxn ang="0">
                  <a:pos x="61" y="24"/>
                </a:cxn>
                <a:cxn ang="0">
                  <a:pos x="55" y="26"/>
                </a:cxn>
                <a:cxn ang="0">
                  <a:pos x="55" y="26"/>
                </a:cxn>
                <a:cxn ang="0">
                  <a:pos x="42" y="32"/>
                </a:cxn>
                <a:cxn ang="0">
                  <a:pos x="42" y="32"/>
                </a:cxn>
                <a:cxn ang="0">
                  <a:pos x="35" y="34"/>
                </a:cxn>
                <a:cxn ang="0">
                  <a:pos x="35" y="34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7" y="54"/>
                </a:cxn>
                <a:cxn ang="0">
                  <a:pos x="13" y="59"/>
                </a:cxn>
                <a:cxn ang="0">
                  <a:pos x="18" y="67"/>
                </a:cxn>
                <a:cxn ang="0">
                  <a:pos x="22" y="74"/>
                </a:cxn>
                <a:cxn ang="0">
                  <a:pos x="22" y="74"/>
                </a:cxn>
              </a:cxnLst>
              <a:rect l="0" t="0" r="r" b="b"/>
              <a:pathLst>
                <a:path w="164" h="74">
                  <a:moveTo>
                    <a:pt x="22" y="74"/>
                  </a:moveTo>
                  <a:lnTo>
                    <a:pt x="22" y="74"/>
                  </a:lnTo>
                  <a:lnTo>
                    <a:pt x="51" y="61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59" y="26"/>
                  </a:lnTo>
                  <a:lnTo>
                    <a:pt x="159" y="26"/>
                  </a:lnTo>
                  <a:lnTo>
                    <a:pt x="159" y="13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7" y="54"/>
                  </a:lnTo>
                  <a:lnTo>
                    <a:pt x="13" y="59"/>
                  </a:lnTo>
                  <a:lnTo>
                    <a:pt x="18" y="67"/>
                  </a:lnTo>
                  <a:lnTo>
                    <a:pt x="22" y="74"/>
                  </a:lnTo>
                  <a:lnTo>
                    <a:pt x="2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9" name="Freeform 47">
              <a:extLst>
                <a:ext uri="{FF2B5EF4-FFF2-40B4-BE49-F238E27FC236}">
                  <a16:creationId xmlns:a16="http://schemas.microsoft.com/office/drawing/2014/main" id="{3B1E262E-3DED-4543-8756-042EB29F3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4183063"/>
              <a:ext cx="366712" cy="184150"/>
            </a:xfrm>
            <a:custGeom>
              <a:avLst/>
              <a:gdLst/>
              <a:ahLst/>
              <a:cxnLst>
                <a:cxn ang="0">
                  <a:pos x="114" y="116"/>
                </a:cxn>
                <a:cxn ang="0">
                  <a:pos x="114" y="116"/>
                </a:cxn>
                <a:cxn ang="0">
                  <a:pos x="125" y="115"/>
                </a:cxn>
                <a:cxn ang="0">
                  <a:pos x="138" y="113"/>
                </a:cxn>
                <a:cxn ang="0">
                  <a:pos x="149" y="111"/>
                </a:cxn>
                <a:cxn ang="0">
                  <a:pos x="158" y="107"/>
                </a:cxn>
                <a:cxn ang="0">
                  <a:pos x="179" y="96"/>
                </a:cxn>
                <a:cxn ang="0">
                  <a:pos x="195" y="81"/>
                </a:cxn>
                <a:cxn ang="0">
                  <a:pos x="210" y="65"/>
                </a:cxn>
                <a:cxn ang="0">
                  <a:pos x="221" y="44"/>
                </a:cxn>
                <a:cxn ang="0">
                  <a:pos x="225" y="35"/>
                </a:cxn>
                <a:cxn ang="0">
                  <a:pos x="227" y="24"/>
                </a:cxn>
                <a:cxn ang="0">
                  <a:pos x="229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4"/>
                </a:cxn>
                <a:cxn ang="0">
                  <a:pos x="3" y="35"/>
                </a:cxn>
                <a:cxn ang="0">
                  <a:pos x="7" y="44"/>
                </a:cxn>
                <a:cxn ang="0">
                  <a:pos x="18" y="65"/>
                </a:cxn>
                <a:cxn ang="0">
                  <a:pos x="33" y="81"/>
                </a:cxn>
                <a:cxn ang="0">
                  <a:pos x="49" y="96"/>
                </a:cxn>
                <a:cxn ang="0">
                  <a:pos x="70" y="107"/>
                </a:cxn>
                <a:cxn ang="0">
                  <a:pos x="79" y="111"/>
                </a:cxn>
                <a:cxn ang="0">
                  <a:pos x="90" y="113"/>
                </a:cxn>
                <a:cxn ang="0">
                  <a:pos x="103" y="115"/>
                </a:cxn>
                <a:cxn ang="0">
                  <a:pos x="114" y="116"/>
                </a:cxn>
                <a:cxn ang="0">
                  <a:pos x="114" y="116"/>
                </a:cxn>
              </a:cxnLst>
              <a:rect l="0" t="0" r="r" b="b"/>
              <a:pathLst>
                <a:path w="231" h="116">
                  <a:moveTo>
                    <a:pt x="114" y="116"/>
                  </a:moveTo>
                  <a:lnTo>
                    <a:pt x="114" y="116"/>
                  </a:lnTo>
                  <a:lnTo>
                    <a:pt x="125" y="115"/>
                  </a:lnTo>
                  <a:lnTo>
                    <a:pt x="138" y="113"/>
                  </a:lnTo>
                  <a:lnTo>
                    <a:pt x="149" y="111"/>
                  </a:lnTo>
                  <a:lnTo>
                    <a:pt x="158" y="107"/>
                  </a:lnTo>
                  <a:lnTo>
                    <a:pt x="179" y="96"/>
                  </a:lnTo>
                  <a:lnTo>
                    <a:pt x="195" y="81"/>
                  </a:lnTo>
                  <a:lnTo>
                    <a:pt x="210" y="65"/>
                  </a:lnTo>
                  <a:lnTo>
                    <a:pt x="221" y="44"/>
                  </a:lnTo>
                  <a:lnTo>
                    <a:pt x="225" y="35"/>
                  </a:lnTo>
                  <a:lnTo>
                    <a:pt x="227" y="24"/>
                  </a:lnTo>
                  <a:lnTo>
                    <a:pt x="229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4"/>
                  </a:lnTo>
                  <a:lnTo>
                    <a:pt x="3" y="35"/>
                  </a:lnTo>
                  <a:lnTo>
                    <a:pt x="7" y="44"/>
                  </a:lnTo>
                  <a:lnTo>
                    <a:pt x="18" y="65"/>
                  </a:lnTo>
                  <a:lnTo>
                    <a:pt x="33" y="81"/>
                  </a:lnTo>
                  <a:lnTo>
                    <a:pt x="49" y="96"/>
                  </a:lnTo>
                  <a:lnTo>
                    <a:pt x="70" y="107"/>
                  </a:lnTo>
                  <a:lnTo>
                    <a:pt x="79" y="111"/>
                  </a:lnTo>
                  <a:lnTo>
                    <a:pt x="90" y="113"/>
                  </a:lnTo>
                  <a:lnTo>
                    <a:pt x="103" y="115"/>
                  </a:lnTo>
                  <a:lnTo>
                    <a:pt x="114" y="116"/>
                  </a:lnTo>
                  <a:lnTo>
                    <a:pt x="114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0" name="Freeform 48">
              <a:extLst>
                <a:ext uri="{FF2B5EF4-FFF2-40B4-BE49-F238E27FC236}">
                  <a16:creationId xmlns:a16="http://schemas.microsoft.com/office/drawing/2014/main" id="{81EAFD42-47CC-4BA6-979A-EAC6FB97B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4144963"/>
              <a:ext cx="387350" cy="28575"/>
            </a:xfrm>
            <a:custGeom>
              <a:avLst/>
              <a:gdLst/>
              <a:ahLst/>
              <a:cxnLst>
                <a:cxn ang="0">
                  <a:pos x="235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17"/>
                </a:cxn>
                <a:cxn ang="0">
                  <a:pos x="6" y="18"/>
                </a:cxn>
                <a:cxn ang="0">
                  <a:pos x="9" y="18"/>
                </a:cxn>
                <a:cxn ang="0">
                  <a:pos x="235" y="18"/>
                </a:cxn>
                <a:cxn ang="0">
                  <a:pos x="235" y="18"/>
                </a:cxn>
                <a:cxn ang="0">
                  <a:pos x="239" y="18"/>
                </a:cxn>
                <a:cxn ang="0">
                  <a:pos x="242" y="17"/>
                </a:cxn>
                <a:cxn ang="0">
                  <a:pos x="244" y="13"/>
                </a:cxn>
                <a:cxn ang="0">
                  <a:pos x="244" y="9"/>
                </a:cxn>
                <a:cxn ang="0">
                  <a:pos x="244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39" y="0"/>
                </a:cxn>
                <a:cxn ang="0">
                  <a:pos x="235" y="0"/>
                </a:cxn>
                <a:cxn ang="0">
                  <a:pos x="235" y="0"/>
                </a:cxn>
              </a:cxnLst>
              <a:rect l="0" t="0" r="r" b="b"/>
              <a:pathLst>
                <a:path w="244" h="18">
                  <a:moveTo>
                    <a:pt x="235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7"/>
                  </a:lnTo>
                  <a:lnTo>
                    <a:pt x="6" y="18"/>
                  </a:lnTo>
                  <a:lnTo>
                    <a:pt x="9" y="18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9" y="18"/>
                  </a:lnTo>
                  <a:lnTo>
                    <a:pt x="242" y="17"/>
                  </a:lnTo>
                  <a:lnTo>
                    <a:pt x="244" y="13"/>
                  </a:lnTo>
                  <a:lnTo>
                    <a:pt x="244" y="9"/>
                  </a:lnTo>
                  <a:lnTo>
                    <a:pt x="244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39" y="0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" name="Freeform 49">
              <a:extLst>
                <a:ext uri="{FF2B5EF4-FFF2-40B4-BE49-F238E27FC236}">
                  <a16:creationId xmlns:a16="http://schemas.microsoft.com/office/drawing/2014/main" id="{6E72AA29-2894-48A8-8A34-F04AD01D7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3941763"/>
              <a:ext cx="123825" cy="188913"/>
            </a:xfrm>
            <a:custGeom>
              <a:avLst/>
              <a:gdLst/>
              <a:ahLst/>
              <a:cxnLst>
                <a:cxn ang="0">
                  <a:pos x="78" y="6"/>
                </a:cxn>
                <a:cxn ang="0">
                  <a:pos x="78" y="6"/>
                </a:cxn>
                <a:cxn ang="0">
                  <a:pos x="70" y="0"/>
                </a:cxn>
                <a:cxn ang="0">
                  <a:pos x="0" y="119"/>
                </a:cxn>
                <a:cxn ang="0">
                  <a:pos x="9" y="119"/>
                </a:cxn>
                <a:cxn ang="0">
                  <a:pos x="78" y="6"/>
                </a:cxn>
              </a:cxnLst>
              <a:rect l="0" t="0" r="r" b="b"/>
              <a:pathLst>
                <a:path w="78" h="119">
                  <a:moveTo>
                    <a:pt x="78" y="6"/>
                  </a:moveTo>
                  <a:lnTo>
                    <a:pt x="78" y="6"/>
                  </a:lnTo>
                  <a:lnTo>
                    <a:pt x="70" y="0"/>
                  </a:lnTo>
                  <a:lnTo>
                    <a:pt x="0" y="119"/>
                  </a:lnTo>
                  <a:lnTo>
                    <a:pt x="9" y="119"/>
                  </a:lnTo>
                  <a:lnTo>
                    <a:pt x="7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2" name="Freeform 50">
              <a:extLst>
                <a:ext uri="{FF2B5EF4-FFF2-40B4-BE49-F238E27FC236}">
                  <a16:creationId xmlns:a16="http://schemas.microsoft.com/office/drawing/2014/main" id="{4C9AF50F-2575-498F-8E8A-B269F3713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4068763"/>
              <a:ext cx="238125" cy="61913"/>
            </a:xfrm>
            <a:custGeom>
              <a:avLst/>
              <a:gdLst/>
              <a:ahLst/>
              <a:cxnLst>
                <a:cxn ang="0">
                  <a:pos x="69" y="9"/>
                </a:cxn>
                <a:cxn ang="0">
                  <a:pos x="72" y="9"/>
                </a:cxn>
                <a:cxn ang="0">
                  <a:pos x="72" y="9"/>
                </a:cxn>
                <a:cxn ang="0">
                  <a:pos x="80" y="18"/>
                </a:cxn>
                <a:cxn ang="0">
                  <a:pos x="80" y="18"/>
                </a:cxn>
                <a:cxn ang="0">
                  <a:pos x="89" y="28"/>
                </a:cxn>
                <a:cxn ang="0">
                  <a:pos x="89" y="28"/>
                </a:cxn>
                <a:cxn ang="0">
                  <a:pos x="102" y="39"/>
                </a:cxn>
                <a:cxn ang="0">
                  <a:pos x="150" y="39"/>
                </a:cxn>
                <a:cxn ang="0">
                  <a:pos x="133" y="9"/>
                </a:cxn>
                <a:cxn ang="0">
                  <a:pos x="133" y="9"/>
                </a:cxn>
                <a:cxn ang="0">
                  <a:pos x="115" y="5"/>
                </a:cxn>
                <a:cxn ang="0">
                  <a:pos x="94" y="2"/>
                </a:cxn>
                <a:cxn ang="0">
                  <a:pos x="72" y="0"/>
                </a:cxn>
                <a:cxn ang="0">
                  <a:pos x="50" y="2"/>
                </a:cxn>
                <a:cxn ang="0">
                  <a:pos x="50" y="2"/>
                </a:cxn>
                <a:cxn ang="0">
                  <a:pos x="30" y="4"/>
                </a:cxn>
                <a:cxn ang="0">
                  <a:pos x="15" y="9"/>
                </a:cxn>
                <a:cxn ang="0">
                  <a:pos x="0" y="33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6" y="39"/>
                </a:cxn>
                <a:cxn ang="0">
                  <a:pos x="81" y="39"/>
                </a:cxn>
                <a:cxn ang="0">
                  <a:pos x="81" y="39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61" y="20"/>
                </a:cxn>
                <a:cxn ang="0">
                  <a:pos x="61" y="20"/>
                </a:cxn>
                <a:cxn ang="0">
                  <a:pos x="56" y="17"/>
                </a:cxn>
                <a:cxn ang="0">
                  <a:pos x="56" y="17"/>
                </a:cxn>
                <a:cxn ang="0">
                  <a:pos x="52" y="17"/>
                </a:cxn>
                <a:cxn ang="0">
                  <a:pos x="52" y="17"/>
                </a:cxn>
                <a:cxn ang="0">
                  <a:pos x="43" y="18"/>
                </a:cxn>
                <a:cxn ang="0">
                  <a:pos x="41" y="17"/>
                </a:cxn>
                <a:cxn ang="0">
                  <a:pos x="41" y="17"/>
                </a:cxn>
                <a:cxn ang="0">
                  <a:pos x="57" y="13"/>
                </a:cxn>
                <a:cxn ang="0">
                  <a:pos x="57" y="13"/>
                </a:cxn>
                <a:cxn ang="0">
                  <a:pos x="69" y="9"/>
                </a:cxn>
                <a:cxn ang="0">
                  <a:pos x="69" y="9"/>
                </a:cxn>
              </a:cxnLst>
              <a:rect l="0" t="0" r="r" b="b"/>
              <a:pathLst>
                <a:path w="150" h="39">
                  <a:moveTo>
                    <a:pt x="69" y="9"/>
                  </a:moveTo>
                  <a:lnTo>
                    <a:pt x="72" y="9"/>
                  </a:lnTo>
                  <a:lnTo>
                    <a:pt x="72" y="9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102" y="39"/>
                  </a:lnTo>
                  <a:lnTo>
                    <a:pt x="150" y="3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15" y="5"/>
                  </a:lnTo>
                  <a:lnTo>
                    <a:pt x="94" y="2"/>
                  </a:lnTo>
                  <a:lnTo>
                    <a:pt x="72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30" y="4"/>
                  </a:lnTo>
                  <a:lnTo>
                    <a:pt x="15" y="9"/>
                  </a:lnTo>
                  <a:lnTo>
                    <a:pt x="0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43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9" y="9"/>
                  </a:lnTo>
                  <a:lnTo>
                    <a:pt x="6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3" name="Freeform 51">
              <a:extLst>
                <a:ext uri="{FF2B5EF4-FFF2-40B4-BE49-F238E27FC236}">
                  <a16:creationId xmlns:a16="http://schemas.microsoft.com/office/drawing/2014/main" id="{45613473-EE55-4670-9620-903A0366F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124325"/>
              <a:ext cx="6350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4" name="Freeform 52">
              <a:extLst>
                <a:ext uri="{FF2B5EF4-FFF2-40B4-BE49-F238E27FC236}">
                  <a16:creationId xmlns:a16="http://schemas.microsoft.com/office/drawing/2014/main" id="{BA711488-9B32-445C-A843-FEBBCFFB9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300" y="3941763"/>
              <a:ext cx="123825" cy="188913"/>
            </a:xfrm>
            <a:custGeom>
              <a:avLst/>
              <a:gdLst/>
              <a:ahLst/>
              <a:cxnLst>
                <a:cxn ang="0">
                  <a:pos x="78" y="119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6"/>
                </a:cxn>
                <a:cxn ang="0">
                  <a:pos x="69" y="119"/>
                </a:cxn>
                <a:cxn ang="0">
                  <a:pos x="78" y="119"/>
                </a:cxn>
              </a:cxnLst>
              <a:rect l="0" t="0" r="r" b="b"/>
              <a:pathLst>
                <a:path w="78" h="119">
                  <a:moveTo>
                    <a:pt x="78" y="119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0" y="6"/>
                  </a:lnTo>
                  <a:lnTo>
                    <a:pt x="69" y="119"/>
                  </a:lnTo>
                  <a:lnTo>
                    <a:pt x="78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5" name="Freeform 53">
              <a:extLst>
                <a:ext uri="{FF2B5EF4-FFF2-40B4-BE49-F238E27FC236}">
                  <a16:creationId xmlns:a16="http://schemas.microsoft.com/office/drawing/2014/main" id="{E6B9D70B-65CE-4283-951C-A904D681CC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163" y="3840163"/>
              <a:ext cx="104775" cy="101600"/>
            </a:xfrm>
            <a:custGeom>
              <a:avLst/>
              <a:gdLst/>
              <a:ahLst/>
              <a:cxnLst>
                <a:cxn ang="0">
                  <a:pos x="33" y="64"/>
                </a:cxn>
                <a:cxn ang="0">
                  <a:pos x="33" y="64"/>
                </a:cxn>
                <a:cxn ang="0">
                  <a:pos x="40" y="64"/>
                </a:cxn>
                <a:cxn ang="0">
                  <a:pos x="46" y="63"/>
                </a:cxn>
                <a:cxn ang="0">
                  <a:pos x="52" y="59"/>
                </a:cxn>
                <a:cxn ang="0">
                  <a:pos x="57" y="55"/>
                </a:cxn>
                <a:cxn ang="0">
                  <a:pos x="61" y="50"/>
                </a:cxn>
                <a:cxn ang="0">
                  <a:pos x="63" y="44"/>
                </a:cxn>
                <a:cxn ang="0">
                  <a:pos x="65" y="39"/>
                </a:cxn>
                <a:cxn ang="0">
                  <a:pos x="66" y="31"/>
                </a:cxn>
                <a:cxn ang="0">
                  <a:pos x="66" y="31"/>
                </a:cxn>
                <a:cxn ang="0">
                  <a:pos x="65" y="26"/>
                </a:cxn>
                <a:cxn ang="0">
                  <a:pos x="63" y="20"/>
                </a:cxn>
                <a:cxn ang="0">
                  <a:pos x="61" y="15"/>
                </a:cxn>
                <a:cxn ang="0">
                  <a:pos x="57" y="9"/>
                </a:cxn>
                <a:cxn ang="0">
                  <a:pos x="52" y="5"/>
                </a:cxn>
                <a:cxn ang="0">
                  <a:pos x="46" y="2"/>
                </a:cxn>
                <a:cxn ang="0">
                  <a:pos x="4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5" y="5"/>
                </a:cxn>
                <a:cxn ang="0">
                  <a:pos x="11" y="9"/>
                </a:cxn>
                <a:cxn ang="0">
                  <a:pos x="5" y="15"/>
                </a:cxn>
                <a:cxn ang="0">
                  <a:pos x="4" y="20"/>
                </a:cxn>
                <a:cxn ang="0">
                  <a:pos x="2" y="26"/>
                </a:cxn>
                <a:cxn ang="0">
                  <a:pos x="0" y="31"/>
                </a:cxn>
                <a:cxn ang="0">
                  <a:pos x="0" y="31"/>
                </a:cxn>
                <a:cxn ang="0">
                  <a:pos x="2" y="39"/>
                </a:cxn>
                <a:cxn ang="0">
                  <a:pos x="4" y="44"/>
                </a:cxn>
                <a:cxn ang="0">
                  <a:pos x="5" y="50"/>
                </a:cxn>
                <a:cxn ang="0">
                  <a:pos x="11" y="55"/>
                </a:cxn>
                <a:cxn ang="0">
                  <a:pos x="15" y="59"/>
                </a:cxn>
                <a:cxn ang="0">
                  <a:pos x="20" y="63"/>
                </a:cxn>
                <a:cxn ang="0">
                  <a:pos x="28" y="64"/>
                </a:cxn>
                <a:cxn ang="0">
                  <a:pos x="33" y="64"/>
                </a:cxn>
                <a:cxn ang="0">
                  <a:pos x="33" y="64"/>
                </a:cxn>
                <a:cxn ang="0">
                  <a:pos x="33" y="9"/>
                </a:cxn>
                <a:cxn ang="0">
                  <a:pos x="33" y="9"/>
                </a:cxn>
                <a:cxn ang="0">
                  <a:pos x="42" y="11"/>
                </a:cxn>
                <a:cxn ang="0">
                  <a:pos x="50" y="16"/>
                </a:cxn>
                <a:cxn ang="0">
                  <a:pos x="53" y="24"/>
                </a:cxn>
                <a:cxn ang="0">
                  <a:pos x="55" y="31"/>
                </a:cxn>
                <a:cxn ang="0">
                  <a:pos x="55" y="31"/>
                </a:cxn>
                <a:cxn ang="0">
                  <a:pos x="53" y="40"/>
                </a:cxn>
                <a:cxn ang="0">
                  <a:pos x="50" y="48"/>
                </a:cxn>
                <a:cxn ang="0">
                  <a:pos x="42" y="53"/>
                </a:cxn>
                <a:cxn ang="0">
                  <a:pos x="33" y="53"/>
                </a:cxn>
                <a:cxn ang="0">
                  <a:pos x="33" y="53"/>
                </a:cxn>
                <a:cxn ang="0">
                  <a:pos x="24" y="53"/>
                </a:cxn>
                <a:cxn ang="0">
                  <a:pos x="18" y="48"/>
                </a:cxn>
                <a:cxn ang="0">
                  <a:pos x="13" y="40"/>
                </a:cxn>
                <a:cxn ang="0">
                  <a:pos x="11" y="31"/>
                </a:cxn>
                <a:cxn ang="0">
                  <a:pos x="11" y="31"/>
                </a:cxn>
                <a:cxn ang="0">
                  <a:pos x="13" y="24"/>
                </a:cxn>
                <a:cxn ang="0">
                  <a:pos x="18" y="16"/>
                </a:cxn>
                <a:cxn ang="0">
                  <a:pos x="24" y="11"/>
                </a:cxn>
                <a:cxn ang="0">
                  <a:pos x="33" y="9"/>
                </a:cxn>
                <a:cxn ang="0">
                  <a:pos x="33" y="9"/>
                </a:cxn>
              </a:cxnLst>
              <a:rect l="0" t="0" r="r" b="b"/>
              <a:pathLst>
                <a:path w="66" h="64">
                  <a:moveTo>
                    <a:pt x="33" y="64"/>
                  </a:moveTo>
                  <a:lnTo>
                    <a:pt x="33" y="64"/>
                  </a:lnTo>
                  <a:lnTo>
                    <a:pt x="40" y="64"/>
                  </a:lnTo>
                  <a:lnTo>
                    <a:pt x="46" y="63"/>
                  </a:lnTo>
                  <a:lnTo>
                    <a:pt x="52" y="59"/>
                  </a:lnTo>
                  <a:lnTo>
                    <a:pt x="57" y="55"/>
                  </a:lnTo>
                  <a:lnTo>
                    <a:pt x="61" y="50"/>
                  </a:lnTo>
                  <a:lnTo>
                    <a:pt x="63" y="44"/>
                  </a:lnTo>
                  <a:lnTo>
                    <a:pt x="65" y="39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5" y="26"/>
                  </a:lnTo>
                  <a:lnTo>
                    <a:pt x="63" y="20"/>
                  </a:lnTo>
                  <a:lnTo>
                    <a:pt x="61" y="15"/>
                  </a:lnTo>
                  <a:lnTo>
                    <a:pt x="57" y="9"/>
                  </a:lnTo>
                  <a:lnTo>
                    <a:pt x="52" y="5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5" y="5"/>
                  </a:lnTo>
                  <a:lnTo>
                    <a:pt x="11" y="9"/>
                  </a:lnTo>
                  <a:lnTo>
                    <a:pt x="5" y="15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9"/>
                  </a:lnTo>
                  <a:lnTo>
                    <a:pt x="4" y="44"/>
                  </a:lnTo>
                  <a:lnTo>
                    <a:pt x="5" y="50"/>
                  </a:lnTo>
                  <a:lnTo>
                    <a:pt x="11" y="55"/>
                  </a:lnTo>
                  <a:lnTo>
                    <a:pt x="15" y="59"/>
                  </a:lnTo>
                  <a:lnTo>
                    <a:pt x="20" y="63"/>
                  </a:lnTo>
                  <a:lnTo>
                    <a:pt x="28" y="64"/>
                  </a:lnTo>
                  <a:lnTo>
                    <a:pt x="33" y="64"/>
                  </a:lnTo>
                  <a:lnTo>
                    <a:pt x="33" y="64"/>
                  </a:lnTo>
                  <a:close/>
                  <a:moveTo>
                    <a:pt x="33" y="9"/>
                  </a:moveTo>
                  <a:lnTo>
                    <a:pt x="33" y="9"/>
                  </a:lnTo>
                  <a:lnTo>
                    <a:pt x="42" y="11"/>
                  </a:lnTo>
                  <a:lnTo>
                    <a:pt x="50" y="16"/>
                  </a:lnTo>
                  <a:lnTo>
                    <a:pt x="53" y="24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3" y="40"/>
                  </a:lnTo>
                  <a:lnTo>
                    <a:pt x="50" y="48"/>
                  </a:lnTo>
                  <a:lnTo>
                    <a:pt x="42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24" y="53"/>
                  </a:lnTo>
                  <a:lnTo>
                    <a:pt x="18" y="48"/>
                  </a:lnTo>
                  <a:lnTo>
                    <a:pt x="13" y="4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3" y="24"/>
                  </a:lnTo>
                  <a:lnTo>
                    <a:pt x="18" y="16"/>
                  </a:lnTo>
                  <a:lnTo>
                    <a:pt x="24" y="11"/>
                  </a:lnTo>
                  <a:lnTo>
                    <a:pt x="33" y="9"/>
                  </a:lnTo>
                  <a:lnTo>
                    <a:pt x="33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Freeform 54">
              <a:extLst>
                <a:ext uri="{FF2B5EF4-FFF2-40B4-BE49-F238E27FC236}">
                  <a16:creationId xmlns:a16="http://schemas.microsoft.com/office/drawing/2014/main" id="{B019272A-08D8-445F-87A8-B64C25B96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975" y="3863975"/>
              <a:ext cx="58737" cy="55563"/>
            </a:xfrm>
            <a:custGeom>
              <a:avLst/>
              <a:gdLst/>
              <a:ahLst/>
              <a:cxnLst>
                <a:cxn ang="0">
                  <a:pos x="18" y="35"/>
                </a:cxn>
                <a:cxn ang="0">
                  <a:pos x="18" y="35"/>
                </a:cxn>
                <a:cxn ang="0">
                  <a:pos x="25" y="35"/>
                </a:cxn>
                <a:cxn ang="0">
                  <a:pos x="31" y="29"/>
                </a:cxn>
                <a:cxn ang="0">
                  <a:pos x="35" y="24"/>
                </a:cxn>
                <a:cxn ang="0">
                  <a:pos x="37" y="16"/>
                </a:cxn>
                <a:cxn ang="0">
                  <a:pos x="37" y="16"/>
                </a:cxn>
                <a:cxn ang="0">
                  <a:pos x="35" y="11"/>
                </a:cxn>
                <a:cxn ang="0">
                  <a:pos x="31" y="3"/>
                </a:cxn>
                <a:cxn ang="0">
                  <a:pos x="25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5" y="3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5"/>
                </a:cxn>
                <a:cxn ang="0">
                  <a:pos x="18" y="35"/>
                </a:cxn>
                <a:cxn ang="0">
                  <a:pos x="18" y="35"/>
                </a:cxn>
              </a:cxnLst>
              <a:rect l="0" t="0" r="r" b="b"/>
              <a:pathLst>
                <a:path w="37" h="35">
                  <a:moveTo>
                    <a:pt x="18" y="35"/>
                  </a:moveTo>
                  <a:lnTo>
                    <a:pt x="18" y="35"/>
                  </a:lnTo>
                  <a:lnTo>
                    <a:pt x="25" y="35"/>
                  </a:lnTo>
                  <a:lnTo>
                    <a:pt x="31" y="29"/>
                  </a:lnTo>
                  <a:lnTo>
                    <a:pt x="35" y="24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1"/>
                  </a:lnTo>
                  <a:lnTo>
                    <a:pt x="31" y="3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5"/>
                  </a:lnTo>
                  <a:lnTo>
                    <a:pt x="18" y="35"/>
                  </a:lnTo>
                  <a:lnTo>
                    <a:pt x="18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55">
              <a:extLst>
                <a:ext uri="{FF2B5EF4-FFF2-40B4-BE49-F238E27FC236}">
                  <a16:creationId xmlns:a16="http://schemas.microsoft.com/office/drawing/2014/main" id="{EE8F0146-3189-4B8A-ABE8-26B9EEC81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3940175"/>
              <a:ext cx="123825" cy="184150"/>
            </a:xfrm>
            <a:custGeom>
              <a:avLst/>
              <a:gdLst/>
              <a:ahLst/>
              <a:cxnLst>
                <a:cxn ang="0">
                  <a:pos x="11" y="116"/>
                </a:cxn>
                <a:cxn ang="0">
                  <a:pos x="78" y="5"/>
                </a:cxn>
                <a:cxn ang="0">
                  <a:pos x="78" y="5"/>
                </a:cxn>
                <a:cxn ang="0">
                  <a:pos x="70" y="0"/>
                </a:cxn>
                <a:cxn ang="0">
                  <a:pos x="39" y="53"/>
                </a:cxn>
                <a:cxn ang="0">
                  <a:pos x="39" y="53"/>
                </a:cxn>
                <a:cxn ang="0">
                  <a:pos x="0" y="116"/>
                </a:cxn>
                <a:cxn ang="0">
                  <a:pos x="11" y="116"/>
                </a:cxn>
              </a:cxnLst>
              <a:rect l="0" t="0" r="r" b="b"/>
              <a:pathLst>
                <a:path w="78" h="116">
                  <a:moveTo>
                    <a:pt x="11" y="116"/>
                  </a:moveTo>
                  <a:lnTo>
                    <a:pt x="78" y="5"/>
                  </a:lnTo>
                  <a:lnTo>
                    <a:pt x="78" y="5"/>
                  </a:lnTo>
                  <a:lnTo>
                    <a:pt x="70" y="0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0" y="116"/>
                  </a:lnTo>
                  <a:lnTo>
                    <a:pt x="11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8" name="Freeform 56">
              <a:extLst>
                <a:ext uri="{FF2B5EF4-FFF2-40B4-BE49-F238E27FC236}">
                  <a16:creationId xmlns:a16="http://schemas.microsoft.com/office/drawing/2014/main" id="{AE3D7832-7C5B-4666-A5EC-961F612134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875" y="4003675"/>
              <a:ext cx="203200" cy="120650"/>
            </a:xfrm>
            <a:custGeom>
              <a:avLst/>
              <a:gdLst/>
              <a:ahLst/>
              <a:cxnLst>
                <a:cxn ang="0">
                  <a:pos x="128" y="61"/>
                </a:cxn>
                <a:cxn ang="0">
                  <a:pos x="91" y="0"/>
                </a:cxn>
                <a:cxn ang="0">
                  <a:pos x="30" y="0"/>
                </a:cxn>
                <a:cxn ang="0">
                  <a:pos x="0" y="50"/>
                </a:cxn>
                <a:cxn ang="0">
                  <a:pos x="0" y="76"/>
                </a:cxn>
                <a:cxn ang="0">
                  <a:pos x="128" y="76"/>
                </a:cxn>
                <a:cxn ang="0">
                  <a:pos x="128" y="61"/>
                </a:cxn>
                <a:cxn ang="0">
                  <a:pos x="100" y="74"/>
                </a:cxn>
                <a:cxn ang="0">
                  <a:pos x="26" y="74"/>
                </a:cxn>
                <a:cxn ang="0">
                  <a:pos x="26" y="74"/>
                </a:cxn>
                <a:cxn ang="0">
                  <a:pos x="24" y="72"/>
                </a:cxn>
                <a:cxn ang="0">
                  <a:pos x="22" y="69"/>
                </a:cxn>
                <a:cxn ang="0">
                  <a:pos x="22" y="69"/>
                </a:cxn>
                <a:cxn ang="0">
                  <a:pos x="24" y="67"/>
                </a:cxn>
                <a:cxn ang="0">
                  <a:pos x="26" y="65"/>
                </a:cxn>
                <a:cxn ang="0">
                  <a:pos x="100" y="65"/>
                </a:cxn>
                <a:cxn ang="0">
                  <a:pos x="100" y="65"/>
                </a:cxn>
                <a:cxn ang="0">
                  <a:pos x="104" y="67"/>
                </a:cxn>
                <a:cxn ang="0">
                  <a:pos x="104" y="69"/>
                </a:cxn>
                <a:cxn ang="0">
                  <a:pos x="104" y="69"/>
                </a:cxn>
                <a:cxn ang="0">
                  <a:pos x="104" y="72"/>
                </a:cxn>
                <a:cxn ang="0">
                  <a:pos x="100" y="74"/>
                </a:cxn>
                <a:cxn ang="0">
                  <a:pos x="100" y="74"/>
                </a:cxn>
                <a:cxn ang="0">
                  <a:pos x="100" y="54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24" y="52"/>
                </a:cxn>
                <a:cxn ang="0">
                  <a:pos x="22" y="50"/>
                </a:cxn>
                <a:cxn ang="0">
                  <a:pos x="22" y="50"/>
                </a:cxn>
                <a:cxn ang="0">
                  <a:pos x="24" y="48"/>
                </a:cxn>
                <a:cxn ang="0">
                  <a:pos x="26" y="46"/>
                </a:cxn>
                <a:cxn ang="0">
                  <a:pos x="100" y="46"/>
                </a:cxn>
                <a:cxn ang="0">
                  <a:pos x="100" y="46"/>
                </a:cxn>
                <a:cxn ang="0">
                  <a:pos x="104" y="48"/>
                </a:cxn>
                <a:cxn ang="0">
                  <a:pos x="104" y="50"/>
                </a:cxn>
                <a:cxn ang="0">
                  <a:pos x="104" y="50"/>
                </a:cxn>
                <a:cxn ang="0">
                  <a:pos x="104" y="52"/>
                </a:cxn>
                <a:cxn ang="0">
                  <a:pos x="100" y="54"/>
                </a:cxn>
                <a:cxn ang="0">
                  <a:pos x="100" y="54"/>
                </a:cxn>
                <a:cxn ang="0">
                  <a:pos x="100" y="35"/>
                </a:cxn>
                <a:cxn ang="0">
                  <a:pos x="74" y="35"/>
                </a:cxn>
                <a:cxn ang="0">
                  <a:pos x="26" y="35"/>
                </a:cxn>
                <a:cxn ang="0">
                  <a:pos x="26" y="35"/>
                </a:cxn>
                <a:cxn ang="0">
                  <a:pos x="24" y="34"/>
                </a:cxn>
                <a:cxn ang="0">
                  <a:pos x="22" y="32"/>
                </a:cxn>
                <a:cxn ang="0">
                  <a:pos x="22" y="32"/>
                </a:cxn>
                <a:cxn ang="0">
                  <a:pos x="24" y="28"/>
                </a:cxn>
                <a:cxn ang="0">
                  <a:pos x="26" y="28"/>
                </a:cxn>
                <a:cxn ang="0">
                  <a:pos x="44" y="28"/>
                </a:cxn>
                <a:cxn ang="0">
                  <a:pos x="100" y="28"/>
                </a:cxn>
                <a:cxn ang="0">
                  <a:pos x="100" y="28"/>
                </a:cxn>
                <a:cxn ang="0">
                  <a:pos x="104" y="28"/>
                </a:cxn>
                <a:cxn ang="0">
                  <a:pos x="104" y="32"/>
                </a:cxn>
                <a:cxn ang="0">
                  <a:pos x="104" y="32"/>
                </a:cxn>
                <a:cxn ang="0">
                  <a:pos x="104" y="34"/>
                </a:cxn>
                <a:cxn ang="0">
                  <a:pos x="100" y="35"/>
                </a:cxn>
                <a:cxn ang="0">
                  <a:pos x="100" y="35"/>
                </a:cxn>
              </a:cxnLst>
              <a:rect l="0" t="0" r="r" b="b"/>
              <a:pathLst>
                <a:path w="128" h="76">
                  <a:moveTo>
                    <a:pt x="128" y="61"/>
                  </a:moveTo>
                  <a:lnTo>
                    <a:pt x="91" y="0"/>
                  </a:lnTo>
                  <a:lnTo>
                    <a:pt x="30" y="0"/>
                  </a:lnTo>
                  <a:lnTo>
                    <a:pt x="0" y="50"/>
                  </a:lnTo>
                  <a:lnTo>
                    <a:pt x="0" y="76"/>
                  </a:lnTo>
                  <a:lnTo>
                    <a:pt x="128" y="76"/>
                  </a:lnTo>
                  <a:lnTo>
                    <a:pt x="128" y="61"/>
                  </a:lnTo>
                  <a:close/>
                  <a:moveTo>
                    <a:pt x="100" y="74"/>
                  </a:move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4" y="67"/>
                  </a:lnTo>
                  <a:lnTo>
                    <a:pt x="26" y="65"/>
                  </a:lnTo>
                  <a:lnTo>
                    <a:pt x="100" y="65"/>
                  </a:lnTo>
                  <a:lnTo>
                    <a:pt x="100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72"/>
                  </a:lnTo>
                  <a:lnTo>
                    <a:pt x="100" y="74"/>
                  </a:lnTo>
                  <a:lnTo>
                    <a:pt x="100" y="74"/>
                  </a:lnTo>
                  <a:close/>
                  <a:moveTo>
                    <a:pt x="100" y="54"/>
                  </a:moveTo>
                  <a:lnTo>
                    <a:pt x="26" y="54"/>
                  </a:lnTo>
                  <a:lnTo>
                    <a:pt x="26" y="54"/>
                  </a:lnTo>
                  <a:lnTo>
                    <a:pt x="24" y="52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6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0" y="54"/>
                  </a:lnTo>
                  <a:lnTo>
                    <a:pt x="100" y="54"/>
                  </a:lnTo>
                  <a:close/>
                  <a:moveTo>
                    <a:pt x="100" y="35"/>
                  </a:moveTo>
                  <a:lnTo>
                    <a:pt x="7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44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4"/>
                  </a:lnTo>
                  <a:lnTo>
                    <a:pt x="100" y="35"/>
                  </a:lnTo>
                  <a:lnTo>
                    <a:pt x="10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9" name="Freeform 57">
              <a:extLst>
                <a:ext uri="{FF2B5EF4-FFF2-40B4-BE49-F238E27FC236}">
                  <a16:creationId xmlns:a16="http://schemas.microsoft.com/office/drawing/2014/main" id="{4FBEEEDA-3366-4B73-9DC7-F04CCB030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813" y="3884613"/>
              <a:ext cx="127000" cy="439738"/>
            </a:xfrm>
            <a:custGeom>
              <a:avLst/>
              <a:gdLst/>
              <a:ahLst/>
              <a:cxnLst>
                <a:cxn ang="0">
                  <a:pos x="39" y="7"/>
                </a:cxn>
                <a:cxn ang="0">
                  <a:pos x="39" y="7"/>
                </a:cxn>
                <a:cxn ang="0">
                  <a:pos x="24" y="5"/>
                </a:cxn>
                <a:cxn ang="0">
                  <a:pos x="11" y="1"/>
                </a:cxn>
                <a:cxn ang="0">
                  <a:pos x="0" y="277"/>
                </a:cxn>
                <a:cxn ang="0">
                  <a:pos x="0" y="277"/>
                </a:cxn>
                <a:cxn ang="0">
                  <a:pos x="10" y="273"/>
                </a:cxn>
                <a:cxn ang="0">
                  <a:pos x="19" y="269"/>
                </a:cxn>
                <a:cxn ang="0">
                  <a:pos x="30" y="268"/>
                </a:cxn>
                <a:cxn ang="0">
                  <a:pos x="41" y="268"/>
                </a:cxn>
                <a:cxn ang="0">
                  <a:pos x="41" y="268"/>
                </a:cxn>
                <a:cxn ang="0">
                  <a:pos x="50" y="268"/>
                </a:cxn>
                <a:cxn ang="0">
                  <a:pos x="61" y="269"/>
                </a:cxn>
                <a:cxn ang="0">
                  <a:pos x="71" y="273"/>
                </a:cxn>
                <a:cxn ang="0">
                  <a:pos x="80" y="277"/>
                </a:cxn>
                <a:cxn ang="0">
                  <a:pos x="69" y="0"/>
                </a:cxn>
                <a:cxn ang="0">
                  <a:pos x="69" y="0"/>
                </a:cxn>
                <a:cxn ang="0">
                  <a:pos x="54" y="5"/>
                </a:cxn>
                <a:cxn ang="0">
                  <a:pos x="39" y="7"/>
                </a:cxn>
                <a:cxn ang="0">
                  <a:pos x="39" y="7"/>
                </a:cxn>
              </a:cxnLst>
              <a:rect l="0" t="0" r="r" b="b"/>
              <a:pathLst>
                <a:path w="80" h="277">
                  <a:moveTo>
                    <a:pt x="39" y="7"/>
                  </a:moveTo>
                  <a:lnTo>
                    <a:pt x="39" y="7"/>
                  </a:lnTo>
                  <a:lnTo>
                    <a:pt x="24" y="5"/>
                  </a:lnTo>
                  <a:lnTo>
                    <a:pt x="11" y="1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10" y="273"/>
                  </a:lnTo>
                  <a:lnTo>
                    <a:pt x="19" y="269"/>
                  </a:lnTo>
                  <a:lnTo>
                    <a:pt x="30" y="268"/>
                  </a:lnTo>
                  <a:lnTo>
                    <a:pt x="41" y="268"/>
                  </a:lnTo>
                  <a:lnTo>
                    <a:pt x="41" y="268"/>
                  </a:lnTo>
                  <a:lnTo>
                    <a:pt x="50" y="268"/>
                  </a:lnTo>
                  <a:lnTo>
                    <a:pt x="61" y="269"/>
                  </a:lnTo>
                  <a:lnTo>
                    <a:pt x="71" y="273"/>
                  </a:lnTo>
                  <a:lnTo>
                    <a:pt x="80" y="277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54" y="5"/>
                  </a:lnTo>
                  <a:lnTo>
                    <a:pt x="39" y="7"/>
                  </a:lnTo>
                  <a:lnTo>
                    <a:pt x="39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0" name="Freeform 58">
              <a:extLst>
                <a:ext uri="{FF2B5EF4-FFF2-40B4-BE49-F238E27FC236}">
                  <a16:creationId xmlns:a16="http://schemas.microsoft.com/office/drawing/2014/main" id="{606E2FF3-15A6-4977-A819-96A9DA48B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3657600"/>
              <a:ext cx="73025" cy="41275"/>
            </a:xfrm>
            <a:custGeom>
              <a:avLst/>
              <a:gdLst/>
              <a:ahLst/>
              <a:cxnLst>
                <a:cxn ang="0">
                  <a:pos x="46" y="26"/>
                </a:cxn>
                <a:cxn ang="0">
                  <a:pos x="46" y="19"/>
                </a:cxn>
                <a:cxn ang="0">
                  <a:pos x="46" y="19"/>
                </a:cxn>
                <a:cxn ang="0">
                  <a:pos x="44" y="11"/>
                </a:cxn>
                <a:cxn ang="0">
                  <a:pos x="41" y="6"/>
                </a:cxn>
                <a:cxn ang="0">
                  <a:pos x="35" y="0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2" y="11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11" y="22"/>
                </a:cxn>
                <a:cxn ang="0">
                  <a:pos x="22" y="21"/>
                </a:cxn>
                <a:cxn ang="0">
                  <a:pos x="22" y="21"/>
                </a:cxn>
                <a:cxn ang="0">
                  <a:pos x="35" y="22"/>
                </a:cxn>
                <a:cxn ang="0">
                  <a:pos x="46" y="26"/>
                </a:cxn>
                <a:cxn ang="0">
                  <a:pos x="46" y="26"/>
                </a:cxn>
              </a:cxnLst>
              <a:rect l="0" t="0" r="r" b="b"/>
              <a:pathLst>
                <a:path w="46" h="26">
                  <a:moveTo>
                    <a:pt x="46" y="26"/>
                  </a:moveTo>
                  <a:lnTo>
                    <a:pt x="46" y="19"/>
                  </a:lnTo>
                  <a:lnTo>
                    <a:pt x="46" y="19"/>
                  </a:lnTo>
                  <a:lnTo>
                    <a:pt x="44" y="11"/>
                  </a:lnTo>
                  <a:lnTo>
                    <a:pt x="41" y="6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1" y="22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35" y="22"/>
                  </a:lnTo>
                  <a:lnTo>
                    <a:pt x="46" y="26"/>
                  </a:lnTo>
                  <a:lnTo>
                    <a:pt x="46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1" name="Freeform 59">
              <a:extLst>
                <a:ext uri="{FF2B5EF4-FFF2-40B4-BE49-F238E27FC236}">
                  <a16:creationId xmlns:a16="http://schemas.microsoft.com/office/drawing/2014/main" id="{36047B93-E3E6-4680-A40F-1357AE47D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3705225"/>
              <a:ext cx="173037" cy="176213"/>
            </a:xfrm>
            <a:custGeom>
              <a:avLst/>
              <a:gdLst/>
              <a:ahLst/>
              <a:cxnLst>
                <a:cxn ang="0">
                  <a:pos x="55" y="111"/>
                </a:cxn>
                <a:cxn ang="0">
                  <a:pos x="76" y="105"/>
                </a:cxn>
                <a:cxn ang="0">
                  <a:pos x="94" y="94"/>
                </a:cxn>
                <a:cxn ang="0">
                  <a:pos x="105" y="77"/>
                </a:cxn>
                <a:cxn ang="0">
                  <a:pos x="109" y="55"/>
                </a:cxn>
                <a:cxn ang="0">
                  <a:pos x="109" y="44"/>
                </a:cxn>
                <a:cxn ang="0">
                  <a:pos x="100" y="24"/>
                </a:cxn>
                <a:cxn ang="0">
                  <a:pos x="85" y="9"/>
                </a:cxn>
                <a:cxn ang="0">
                  <a:pos x="66" y="2"/>
                </a:cxn>
                <a:cxn ang="0">
                  <a:pos x="55" y="0"/>
                </a:cxn>
                <a:cxn ang="0">
                  <a:pos x="33" y="5"/>
                </a:cxn>
                <a:cxn ang="0">
                  <a:pos x="16" y="16"/>
                </a:cxn>
                <a:cxn ang="0">
                  <a:pos x="3" y="33"/>
                </a:cxn>
                <a:cxn ang="0">
                  <a:pos x="0" y="55"/>
                </a:cxn>
                <a:cxn ang="0">
                  <a:pos x="2" y="66"/>
                </a:cxn>
                <a:cxn ang="0">
                  <a:pos x="9" y="87"/>
                </a:cxn>
                <a:cxn ang="0">
                  <a:pos x="24" y="101"/>
                </a:cxn>
                <a:cxn ang="0">
                  <a:pos x="44" y="109"/>
                </a:cxn>
                <a:cxn ang="0">
                  <a:pos x="55" y="111"/>
                </a:cxn>
                <a:cxn ang="0">
                  <a:pos x="55" y="18"/>
                </a:cxn>
                <a:cxn ang="0">
                  <a:pos x="68" y="22"/>
                </a:cxn>
                <a:cxn ang="0">
                  <a:pos x="81" y="29"/>
                </a:cxn>
                <a:cxn ang="0">
                  <a:pos x="88" y="40"/>
                </a:cxn>
                <a:cxn ang="0">
                  <a:pos x="90" y="55"/>
                </a:cxn>
                <a:cxn ang="0">
                  <a:pos x="90" y="63"/>
                </a:cxn>
                <a:cxn ang="0">
                  <a:pos x="85" y="76"/>
                </a:cxn>
                <a:cxn ang="0">
                  <a:pos x="76" y="85"/>
                </a:cxn>
                <a:cxn ang="0">
                  <a:pos x="63" y="90"/>
                </a:cxn>
                <a:cxn ang="0">
                  <a:pos x="55" y="92"/>
                </a:cxn>
                <a:cxn ang="0">
                  <a:pos x="40" y="88"/>
                </a:cxn>
                <a:cxn ang="0">
                  <a:pos x="29" y="81"/>
                </a:cxn>
                <a:cxn ang="0">
                  <a:pos x="22" y="70"/>
                </a:cxn>
                <a:cxn ang="0">
                  <a:pos x="18" y="55"/>
                </a:cxn>
                <a:cxn ang="0">
                  <a:pos x="20" y="48"/>
                </a:cxn>
                <a:cxn ang="0">
                  <a:pos x="24" y="35"/>
                </a:cxn>
                <a:cxn ang="0">
                  <a:pos x="35" y="26"/>
                </a:cxn>
                <a:cxn ang="0">
                  <a:pos x="48" y="20"/>
                </a:cxn>
                <a:cxn ang="0">
                  <a:pos x="55" y="18"/>
                </a:cxn>
              </a:cxnLst>
              <a:rect l="0" t="0" r="r" b="b"/>
              <a:pathLst>
                <a:path w="109" h="111">
                  <a:moveTo>
                    <a:pt x="55" y="111"/>
                  </a:moveTo>
                  <a:lnTo>
                    <a:pt x="55" y="111"/>
                  </a:lnTo>
                  <a:lnTo>
                    <a:pt x="66" y="109"/>
                  </a:lnTo>
                  <a:lnTo>
                    <a:pt x="76" y="105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7"/>
                  </a:lnTo>
                  <a:lnTo>
                    <a:pt x="105" y="77"/>
                  </a:lnTo>
                  <a:lnTo>
                    <a:pt x="109" y="66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44"/>
                  </a:lnTo>
                  <a:lnTo>
                    <a:pt x="105" y="33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6" y="2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4" y="2"/>
                  </a:lnTo>
                  <a:lnTo>
                    <a:pt x="33" y="5"/>
                  </a:lnTo>
                  <a:lnTo>
                    <a:pt x="24" y="9"/>
                  </a:lnTo>
                  <a:lnTo>
                    <a:pt x="16" y="16"/>
                  </a:lnTo>
                  <a:lnTo>
                    <a:pt x="9" y="24"/>
                  </a:lnTo>
                  <a:lnTo>
                    <a:pt x="3" y="33"/>
                  </a:lnTo>
                  <a:lnTo>
                    <a:pt x="2" y="44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6"/>
                  </a:lnTo>
                  <a:lnTo>
                    <a:pt x="3" y="77"/>
                  </a:lnTo>
                  <a:lnTo>
                    <a:pt x="9" y="87"/>
                  </a:lnTo>
                  <a:lnTo>
                    <a:pt x="16" y="94"/>
                  </a:lnTo>
                  <a:lnTo>
                    <a:pt x="24" y="101"/>
                  </a:lnTo>
                  <a:lnTo>
                    <a:pt x="33" y="105"/>
                  </a:lnTo>
                  <a:lnTo>
                    <a:pt x="44" y="109"/>
                  </a:lnTo>
                  <a:lnTo>
                    <a:pt x="55" y="111"/>
                  </a:lnTo>
                  <a:lnTo>
                    <a:pt x="55" y="111"/>
                  </a:lnTo>
                  <a:close/>
                  <a:moveTo>
                    <a:pt x="55" y="18"/>
                  </a:moveTo>
                  <a:lnTo>
                    <a:pt x="55" y="18"/>
                  </a:lnTo>
                  <a:lnTo>
                    <a:pt x="63" y="20"/>
                  </a:lnTo>
                  <a:lnTo>
                    <a:pt x="68" y="22"/>
                  </a:lnTo>
                  <a:lnTo>
                    <a:pt x="76" y="26"/>
                  </a:lnTo>
                  <a:lnTo>
                    <a:pt x="81" y="29"/>
                  </a:lnTo>
                  <a:lnTo>
                    <a:pt x="85" y="35"/>
                  </a:lnTo>
                  <a:lnTo>
                    <a:pt x="88" y="40"/>
                  </a:lnTo>
                  <a:lnTo>
                    <a:pt x="90" y="48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63"/>
                  </a:lnTo>
                  <a:lnTo>
                    <a:pt x="88" y="70"/>
                  </a:lnTo>
                  <a:lnTo>
                    <a:pt x="85" y="76"/>
                  </a:lnTo>
                  <a:lnTo>
                    <a:pt x="81" y="81"/>
                  </a:lnTo>
                  <a:lnTo>
                    <a:pt x="76" y="85"/>
                  </a:lnTo>
                  <a:lnTo>
                    <a:pt x="68" y="88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48" y="90"/>
                  </a:lnTo>
                  <a:lnTo>
                    <a:pt x="40" y="88"/>
                  </a:lnTo>
                  <a:lnTo>
                    <a:pt x="35" y="85"/>
                  </a:lnTo>
                  <a:lnTo>
                    <a:pt x="29" y="81"/>
                  </a:lnTo>
                  <a:lnTo>
                    <a:pt x="24" y="76"/>
                  </a:lnTo>
                  <a:lnTo>
                    <a:pt x="22" y="70"/>
                  </a:lnTo>
                  <a:lnTo>
                    <a:pt x="20" y="6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20" y="48"/>
                  </a:lnTo>
                  <a:lnTo>
                    <a:pt x="22" y="40"/>
                  </a:lnTo>
                  <a:lnTo>
                    <a:pt x="24" y="35"/>
                  </a:lnTo>
                  <a:lnTo>
                    <a:pt x="29" y="29"/>
                  </a:lnTo>
                  <a:lnTo>
                    <a:pt x="35" y="26"/>
                  </a:lnTo>
                  <a:lnTo>
                    <a:pt x="40" y="22"/>
                  </a:lnTo>
                  <a:lnTo>
                    <a:pt x="48" y="20"/>
                  </a:lnTo>
                  <a:lnTo>
                    <a:pt x="55" y="18"/>
                  </a:lnTo>
                  <a:lnTo>
                    <a:pt x="55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2" name="Freeform 60">
              <a:extLst>
                <a:ext uri="{FF2B5EF4-FFF2-40B4-BE49-F238E27FC236}">
                  <a16:creationId xmlns:a16="http://schemas.microsoft.com/office/drawing/2014/main" id="{BC38A17A-71A1-4574-8A9B-45B2E82F5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3751263"/>
              <a:ext cx="82550" cy="82550"/>
            </a:xfrm>
            <a:custGeom>
              <a:avLst/>
              <a:gdLst/>
              <a:ahLst/>
              <a:cxnLst>
                <a:cxn ang="0">
                  <a:pos x="26" y="52"/>
                </a:cxn>
                <a:cxn ang="0">
                  <a:pos x="26" y="52"/>
                </a:cxn>
                <a:cxn ang="0">
                  <a:pos x="35" y="50"/>
                </a:cxn>
                <a:cxn ang="0">
                  <a:pos x="45" y="45"/>
                </a:cxn>
                <a:cxn ang="0">
                  <a:pos x="50" y="37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0" y="15"/>
                </a:cxn>
                <a:cxn ang="0">
                  <a:pos x="45" y="8"/>
                </a:cxn>
                <a:cxn ang="0">
                  <a:pos x="35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15" y="2"/>
                </a:cxn>
                <a:cxn ang="0">
                  <a:pos x="8" y="8"/>
                </a:cxn>
                <a:cxn ang="0">
                  <a:pos x="2" y="15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7"/>
                </a:cxn>
                <a:cxn ang="0">
                  <a:pos x="8" y="45"/>
                </a:cxn>
                <a:cxn ang="0">
                  <a:pos x="15" y="50"/>
                </a:cxn>
                <a:cxn ang="0">
                  <a:pos x="26" y="52"/>
                </a:cxn>
                <a:cxn ang="0">
                  <a:pos x="26" y="52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lnTo>
                    <a:pt x="26" y="52"/>
                  </a:lnTo>
                  <a:lnTo>
                    <a:pt x="35" y="50"/>
                  </a:lnTo>
                  <a:lnTo>
                    <a:pt x="45" y="45"/>
                  </a:lnTo>
                  <a:lnTo>
                    <a:pt x="50" y="37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15"/>
                  </a:lnTo>
                  <a:lnTo>
                    <a:pt x="45" y="8"/>
                  </a:lnTo>
                  <a:lnTo>
                    <a:pt x="35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5" y="2"/>
                  </a:lnTo>
                  <a:lnTo>
                    <a:pt x="8" y="8"/>
                  </a:lnTo>
                  <a:lnTo>
                    <a:pt x="2" y="1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8" y="45"/>
                  </a:lnTo>
                  <a:lnTo>
                    <a:pt x="15" y="50"/>
                  </a:lnTo>
                  <a:lnTo>
                    <a:pt x="26" y="52"/>
                  </a:lnTo>
                  <a:lnTo>
                    <a:pt x="26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3" name="Freeform 61">
              <a:extLst>
                <a:ext uri="{FF2B5EF4-FFF2-40B4-BE49-F238E27FC236}">
                  <a16:creationId xmlns:a16="http://schemas.microsoft.com/office/drawing/2014/main" id="{81BDA5BE-0EE7-4CDD-ACAB-3F72083B4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388" y="3751263"/>
              <a:ext cx="273050" cy="123825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6" y="28"/>
                </a:cxn>
                <a:cxn ang="0">
                  <a:pos x="43" y="35"/>
                </a:cxn>
                <a:cxn ang="0">
                  <a:pos x="82" y="47"/>
                </a:cxn>
                <a:cxn ang="0">
                  <a:pos x="119" y="61"/>
                </a:cxn>
                <a:cxn ang="0">
                  <a:pos x="154" y="78"/>
                </a:cxn>
                <a:cxn ang="0">
                  <a:pos x="154" y="78"/>
                </a:cxn>
                <a:cxn ang="0">
                  <a:pos x="157" y="71"/>
                </a:cxn>
                <a:cxn ang="0">
                  <a:pos x="161" y="63"/>
                </a:cxn>
                <a:cxn ang="0">
                  <a:pos x="165" y="56"/>
                </a:cxn>
                <a:cxn ang="0">
                  <a:pos x="172" y="50"/>
                </a:cxn>
                <a:cxn ang="0">
                  <a:pos x="172" y="50"/>
                </a:cxn>
                <a:cxn ang="0">
                  <a:pos x="130" y="32"/>
                </a:cxn>
                <a:cxn ang="0">
                  <a:pos x="87" y="17"/>
                </a:cxn>
                <a:cxn ang="0">
                  <a:pos x="43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3"/>
                </a:cxn>
                <a:cxn ang="0">
                  <a:pos x="6" y="26"/>
                </a:cxn>
                <a:cxn ang="0">
                  <a:pos x="6" y="28"/>
                </a:cxn>
              </a:cxnLst>
              <a:rect l="0" t="0" r="r" b="b"/>
              <a:pathLst>
                <a:path w="172" h="78">
                  <a:moveTo>
                    <a:pt x="6" y="28"/>
                  </a:moveTo>
                  <a:lnTo>
                    <a:pt x="6" y="28"/>
                  </a:lnTo>
                  <a:lnTo>
                    <a:pt x="43" y="35"/>
                  </a:lnTo>
                  <a:lnTo>
                    <a:pt x="82" y="47"/>
                  </a:lnTo>
                  <a:lnTo>
                    <a:pt x="119" y="61"/>
                  </a:lnTo>
                  <a:lnTo>
                    <a:pt x="154" y="78"/>
                  </a:lnTo>
                  <a:lnTo>
                    <a:pt x="154" y="78"/>
                  </a:lnTo>
                  <a:lnTo>
                    <a:pt x="157" y="71"/>
                  </a:lnTo>
                  <a:lnTo>
                    <a:pt x="161" y="63"/>
                  </a:lnTo>
                  <a:lnTo>
                    <a:pt x="165" y="56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30" y="32"/>
                  </a:lnTo>
                  <a:lnTo>
                    <a:pt x="87" y="17"/>
                  </a:lnTo>
                  <a:lnTo>
                    <a:pt x="43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6" y="26"/>
                  </a:lnTo>
                  <a:lnTo>
                    <a:pt x="6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4" name="Freeform 62">
              <a:extLst>
                <a:ext uri="{FF2B5EF4-FFF2-40B4-BE49-F238E27FC236}">
                  <a16:creationId xmlns:a16="http://schemas.microsoft.com/office/drawing/2014/main" id="{CE51FBA5-80BF-4DA1-8C6A-44F96BB9F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3940175"/>
              <a:ext cx="125412" cy="1841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51" y="86"/>
                </a:cxn>
                <a:cxn ang="0">
                  <a:pos x="68" y="116"/>
                </a:cxn>
                <a:cxn ang="0">
                  <a:pos x="79" y="116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7" y="0"/>
                </a:cxn>
              </a:cxnLst>
              <a:rect l="0" t="0" r="r" b="b"/>
              <a:pathLst>
                <a:path w="79" h="116">
                  <a:moveTo>
                    <a:pt x="7" y="0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51" y="86"/>
                  </a:lnTo>
                  <a:lnTo>
                    <a:pt x="68" y="116"/>
                  </a:lnTo>
                  <a:lnTo>
                    <a:pt x="79" y="116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5" name="Freeform 63">
              <a:extLst>
                <a:ext uri="{FF2B5EF4-FFF2-40B4-BE49-F238E27FC236}">
                  <a16:creationId xmlns:a16="http://schemas.microsoft.com/office/drawing/2014/main" id="{A0F384CB-3B97-49EF-9DF3-46DE082CBA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3833813"/>
              <a:ext cx="101600" cy="106363"/>
            </a:xfrm>
            <a:custGeom>
              <a:avLst/>
              <a:gdLst/>
              <a:ahLst/>
              <a:cxnLst>
                <a:cxn ang="0">
                  <a:pos x="31" y="67"/>
                </a:cxn>
                <a:cxn ang="0">
                  <a:pos x="31" y="67"/>
                </a:cxn>
                <a:cxn ang="0">
                  <a:pos x="39" y="65"/>
                </a:cxn>
                <a:cxn ang="0">
                  <a:pos x="44" y="63"/>
                </a:cxn>
                <a:cxn ang="0">
                  <a:pos x="50" y="61"/>
                </a:cxn>
                <a:cxn ang="0">
                  <a:pos x="55" y="57"/>
                </a:cxn>
                <a:cxn ang="0">
                  <a:pos x="59" y="52"/>
                </a:cxn>
                <a:cxn ang="0">
                  <a:pos x="63" y="46"/>
                </a:cxn>
                <a:cxn ang="0">
                  <a:pos x="64" y="41"/>
                </a:cxn>
                <a:cxn ang="0">
                  <a:pos x="64" y="33"/>
                </a:cxn>
                <a:cxn ang="0">
                  <a:pos x="64" y="33"/>
                </a:cxn>
                <a:cxn ang="0">
                  <a:pos x="64" y="28"/>
                </a:cxn>
                <a:cxn ang="0">
                  <a:pos x="63" y="20"/>
                </a:cxn>
                <a:cxn ang="0">
                  <a:pos x="59" y="15"/>
                </a:cxn>
                <a:cxn ang="0">
                  <a:pos x="55" y="11"/>
                </a:cxn>
                <a:cxn ang="0">
                  <a:pos x="50" y="6"/>
                </a:cxn>
                <a:cxn ang="0">
                  <a:pos x="44" y="4"/>
                </a:cxn>
                <a:cxn ang="0">
                  <a:pos x="39" y="2"/>
                </a:cxn>
                <a:cxn ang="0">
                  <a:pos x="31" y="0"/>
                </a:cxn>
                <a:cxn ang="0">
                  <a:pos x="31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3" y="6"/>
                </a:cxn>
                <a:cxn ang="0">
                  <a:pos x="9" y="11"/>
                </a:cxn>
                <a:cxn ang="0">
                  <a:pos x="5" y="15"/>
                </a:cxn>
                <a:cxn ang="0">
                  <a:pos x="2" y="20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41"/>
                </a:cxn>
                <a:cxn ang="0">
                  <a:pos x="2" y="46"/>
                </a:cxn>
                <a:cxn ang="0">
                  <a:pos x="5" y="52"/>
                </a:cxn>
                <a:cxn ang="0">
                  <a:pos x="9" y="57"/>
                </a:cxn>
                <a:cxn ang="0">
                  <a:pos x="13" y="61"/>
                </a:cxn>
                <a:cxn ang="0">
                  <a:pos x="18" y="63"/>
                </a:cxn>
                <a:cxn ang="0">
                  <a:pos x="26" y="65"/>
                </a:cxn>
                <a:cxn ang="0">
                  <a:pos x="31" y="67"/>
                </a:cxn>
                <a:cxn ang="0">
                  <a:pos x="31" y="67"/>
                </a:cxn>
                <a:cxn ang="0">
                  <a:pos x="31" y="11"/>
                </a:cxn>
                <a:cxn ang="0">
                  <a:pos x="31" y="11"/>
                </a:cxn>
                <a:cxn ang="0">
                  <a:pos x="40" y="13"/>
                </a:cxn>
                <a:cxn ang="0">
                  <a:pos x="48" y="19"/>
                </a:cxn>
                <a:cxn ang="0">
                  <a:pos x="52" y="24"/>
                </a:cxn>
                <a:cxn ang="0">
                  <a:pos x="53" y="33"/>
                </a:cxn>
                <a:cxn ang="0">
                  <a:pos x="53" y="33"/>
                </a:cxn>
                <a:cxn ang="0">
                  <a:pos x="52" y="43"/>
                </a:cxn>
                <a:cxn ang="0">
                  <a:pos x="48" y="50"/>
                </a:cxn>
                <a:cxn ang="0">
                  <a:pos x="40" y="54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24" y="54"/>
                </a:cxn>
                <a:cxn ang="0">
                  <a:pos x="16" y="50"/>
                </a:cxn>
                <a:cxn ang="0">
                  <a:pos x="11" y="43"/>
                </a:cxn>
                <a:cxn ang="0">
                  <a:pos x="9" y="33"/>
                </a:cxn>
                <a:cxn ang="0">
                  <a:pos x="9" y="33"/>
                </a:cxn>
                <a:cxn ang="0">
                  <a:pos x="11" y="24"/>
                </a:cxn>
                <a:cxn ang="0">
                  <a:pos x="16" y="19"/>
                </a:cxn>
                <a:cxn ang="0">
                  <a:pos x="24" y="13"/>
                </a:cxn>
                <a:cxn ang="0">
                  <a:pos x="31" y="11"/>
                </a:cxn>
                <a:cxn ang="0">
                  <a:pos x="31" y="11"/>
                </a:cxn>
              </a:cxnLst>
              <a:rect l="0" t="0" r="r" b="b"/>
              <a:pathLst>
                <a:path w="64" h="67">
                  <a:moveTo>
                    <a:pt x="31" y="67"/>
                  </a:moveTo>
                  <a:lnTo>
                    <a:pt x="31" y="67"/>
                  </a:lnTo>
                  <a:lnTo>
                    <a:pt x="39" y="65"/>
                  </a:lnTo>
                  <a:lnTo>
                    <a:pt x="44" y="63"/>
                  </a:lnTo>
                  <a:lnTo>
                    <a:pt x="50" y="61"/>
                  </a:lnTo>
                  <a:lnTo>
                    <a:pt x="55" y="57"/>
                  </a:lnTo>
                  <a:lnTo>
                    <a:pt x="59" y="52"/>
                  </a:lnTo>
                  <a:lnTo>
                    <a:pt x="63" y="46"/>
                  </a:lnTo>
                  <a:lnTo>
                    <a:pt x="64" y="41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28"/>
                  </a:lnTo>
                  <a:lnTo>
                    <a:pt x="63" y="20"/>
                  </a:lnTo>
                  <a:lnTo>
                    <a:pt x="59" y="15"/>
                  </a:lnTo>
                  <a:lnTo>
                    <a:pt x="55" y="11"/>
                  </a:lnTo>
                  <a:lnTo>
                    <a:pt x="50" y="6"/>
                  </a:lnTo>
                  <a:lnTo>
                    <a:pt x="44" y="4"/>
                  </a:lnTo>
                  <a:lnTo>
                    <a:pt x="39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3" y="6"/>
                  </a:lnTo>
                  <a:lnTo>
                    <a:pt x="9" y="11"/>
                  </a:lnTo>
                  <a:lnTo>
                    <a:pt x="5" y="15"/>
                  </a:lnTo>
                  <a:lnTo>
                    <a:pt x="2" y="20"/>
                  </a:lnTo>
                  <a:lnTo>
                    <a:pt x="0" y="28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2" y="46"/>
                  </a:lnTo>
                  <a:lnTo>
                    <a:pt x="5" y="52"/>
                  </a:lnTo>
                  <a:lnTo>
                    <a:pt x="9" y="57"/>
                  </a:lnTo>
                  <a:lnTo>
                    <a:pt x="13" y="61"/>
                  </a:lnTo>
                  <a:lnTo>
                    <a:pt x="18" y="63"/>
                  </a:lnTo>
                  <a:lnTo>
                    <a:pt x="26" y="65"/>
                  </a:lnTo>
                  <a:lnTo>
                    <a:pt x="31" y="67"/>
                  </a:lnTo>
                  <a:lnTo>
                    <a:pt x="31" y="67"/>
                  </a:lnTo>
                  <a:close/>
                  <a:moveTo>
                    <a:pt x="31" y="11"/>
                  </a:moveTo>
                  <a:lnTo>
                    <a:pt x="31" y="11"/>
                  </a:lnTo>
                  <a:lnTo>
                    <a:pt x="40" y="13"/>
                  </a:lnTo>
                  <a:lnTo>
                    <a:pt x="48" y="19"/>
                  </a:lnTo>
                  <a:lnTo>
                    <a:pt x="52" y="24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43"/>
                  </a:lnTo>
                  <a:lnTo>
                    <a:pt x="48" y="50"/>
                  </a:lnTo>
                  <a:lnTo>
                    <a:pt x="40" y="54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24" y="54"/>
                  </a:lnTo>
                  <a:lnTo>
                    <a:pt x="16" y="50"/>
                  </a:lnTo>
                  <a:lnTo>
                    <a:pt x="11" y="4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1" y="24"/>
                  </a:lnTo>
                  <a:lnTo>
                    <a:pt x="16" y="19"/>
                  </a:lnTo>
                  <a:lnTo>
                    <a:pt x="24" y="13"/>
                  </a:lnTo>
                  <a:lnTo>
                    <a:pt x="31" y="11"/>
                  </a:lnTo>
                  <a:lnTo>
                    <a:pt x="31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6" name="Freeform 64">
              <a:extLst>
                <a:ext uri="{FF2B5EF4-FFF2-40B4-BE49-F238E27FC236}">
                  <a16:creationId xmlns:a16="http://schemas.microsoft.com/office/drawing/2014/main" id="{71D66E7B-6708-4E90-BE26-23E3BBB6F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138" y="3860800"/>
              <a:ext cx="52387" cy="52388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29" y="29"/>
                </a:cxn>
                <a:cxn ang="0">
                  <a:pos x="33" y="24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11"/>
                </a:cxn>
                <a:cxn ang="0">
                  <a:pos x="29" y="5"/>
                </a:cxn>
                <a:cxn ang="0">
                  <a:pos x="24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5" y="5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3"/>
                </a:cxn>
                <a:cxn ang="0">
                  <a:pos x="16" y="33"/>
                </a:cxn>
                <a:cxn ang="0">
                  <a:pos x="16" y="3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lnTo>
                    <a:pt x="16" y="33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6" y="33"/>
                  </a:lnTo>
                  <a:lnTo>
                    <a:pt x="16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65">
              <a:extLst>
                <a:ext uri="{FF2B5EF4-FFF2-40B4-BE49-F238E27FC236}">
                  <a16:creationId xmlns:a16="http://schemas.microsoft.com/office/drawing/2014/main" id="{2892B391-8EC0-43E8-8211-1247DAFD0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4179888"/>
              <a:ext cx="366712" cy="182563"/>
            </a:xfrm>
            <a:custGeom>
              <a:avLst/>
              <a:gdLst/>
              <a:ahLst/>
              <a:cxnLst>
                <a:cxn ang="0">
                  <a:pos x="114" y="115"/>
                </a:cxn>
                <a:cxn ang="0">
                  <a:pos x="114" y="115"/>
                </a:cxn>
                <a:cxn ang="0">
                  <a:pos x="127" y="115"/>
                </a:cxn>
                <a:cxn ang="0">
                  <a:pos x="138" y="113"/>
                </a:cxn>
                <a:cxn ang="0">
                  <a:pos x="149" y="109"/>
                </a:cxn>
                <a:cxn ang="0">
                  <a:pos x="160" y="106"/>
                </a:cxn>
                <a:cxn ang="0">
                  <a:pos x="179" y="96"/>
                </a:cxn>
                <a:cxn ang="0">
                  <a:pos x="197" y="82"/>
                </a:cxn>
                <a:cxn ang="0">
                  <a:pos x="210" y="65"/>
                </a:cxn>
                <a:cxn ang="0">
                  <a:pos x="221" y="45"/>
                </a:cxn>
                <a:cxn ang="0">
                  <a:pos x="225" y="33"/>
                </a:cxn>
                <a:cxn ang="0">
                  <a:pos x="229" y="22"/>
                </a:cxn>
                <a:cxn ang="0">
                  <a:pos x="231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2"/>
                </a:cxn>
                <a:cxn ang="0">
                  <a:pos x="5" y="33"/>
                </a:cxn>
                <a:cxn ang="0">
                  <a:pos x="9" y="45"/>
                </a:cxn>
                <a:cxn ang="0">
                  <a:pos x="20" y="65"/>
                </a:cxn>
                <a:cxn ang="0">
                  <a:pos x="33" y="82"/>
                </a:cxn>
                <a:cxn ang="0">
                  <a:pos x="50" y="96"/>
                </a:cxn>
                <a:cxn ang="0">
                  <a:pos x="70" y="106"/>
                </a:cxn>
                <a:cxn ang="0">
                  <a:pos x="81" y="109"/>
                </a:cxn>
                <a:cxn ang="0">
                  <a:pos x="92" y="113"/>
                </a:cxn>
                <a:cxn ang="0">
                  <a:pos x="103" y="115"/>
                </a:cxn>
                <a:cxn ang="0">
                  <a:pos x="114" y="115"/>
                </a:cxn>
                <a:cxn ang="0">
                  <a:pos x="114" y="115"/>
                </a:cxn>
              </a:cxnLst>
              <a:rect l="0" t="0" r="r" b="b"/>
              <a:pathLst>
                <a:path w="231" h="115">
                  <a:moveTo>
                    <a:pt x="114" y="115"/>
                  </a:moveTo>
                  <a:lnTo>
                    <a:pt x="114" y="115"/>
                  </a:lnTo>
                  <a:lnTo>
                    <a:pt x="127" y="115"/>
                  </a:lnTo>
                  <a:lnTo>
                    <a:pt x="138" y="113"/>
                  </a:lnTo>
                  <a:lnTo>
                    <a:pt x="149" y="109"/>
                  </a:lnTo>
                  <a:lnTo>
                    <a:pt x="160" y="106"/>
                  </a:lnTo>
                  <a:lnTo>
                    <a:pt x="179" y="96"/>
                  </a:lnTo>
                  <a:lnTo>
                    <a:pt x="197" y="82"/>
                  </a:lnTo>
                  <a:lnTo>
                    <a:pt x="210" y="65"/>
                  </a:lnTo>
                  <a:lnTo>
                    <a:pt x="221" y="45"/>
                  </a:lnTo>
                  <a:lnTo>
                    <a:pt x="225" y="33"/>
                  </a:lnTo>
                  <a:lnTo>
                    <a:pt x="229" y="22"/>
                  </a:lnTo>
                  <a:lnTo>
                    <a:pt x="231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2"/>
                  </a:lnTo>
                  <a:lnTo>
                    <a:pt x="5" y="33"/>
                  </a:lnTo>
                  <a:lnTo>
                    <a:pt x="9" y="45"/>
                  </a:lnTo>
                  <a:lnTo>
                    <a:pt x="20" y="65"/>
                  </a:lnTo>
                  <a:lnTo>
                    <a:pt x="33" y="82"/>
                  </a:lnTo>
                  <a:lnTo>
                    <a:pt x="50" y="96"/>
                  </a:lnTo>
                  <a:lnTo>
                    <a:pt x="70" y="106"/>
                  </a:lnTo>
                  <a:lnTo>
                    <a:pt x="81" y="109"/>
                  </a:lnTo>
                  <a:lnTo>
                    <a:pt x="92" y="113"/>
                  </a:lnTo>
                  <a:lnTo>
                    <a:pt x="103" y="115"/>
                  </a:lnTo>
                  <a:lnTo>
                    <a:pt x="114" y="115"/>
                  </a:lnTo>
                  <a:lnTo>
                    <a:pt x="114" y="1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Freeform 66">
              <a:extLst>
                <a:ext uri="{FF2B5EF4-FFF2-40B4-BE49-F238E27FC236}">
                  <a16:creationId xmlns:a16="http://schemas.microsoft.com/office/drawing/2014/main" id="{00106166-D53D-41F8-891B-F4AD0C3AA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141788"/>
              <a:ext cx="390525" cy="30163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4" y="15"/>
                </a:cxn>
                <a:cxn ang="0">
                  <a:pos x="6" y="17"/>
                </a:cxn>
                <a:cxn ang="0">
                  <a:pos x="9" y="19"/>
                </a:cxn>
                <a:cxn ang="0">
                  <a:pos x="237" y="19"/>
                </a:cxn>
                <a:cxn ang="0">
                  <a:pos x="237" y="19"/>
                </a:cxn>
                <a:cxn ang="0">
                  <a:pos x="240" y="17"/>
                </a:cxn>
                <a:cxn ang="0">
                  <a:pos x="242" y="15"/>
                </a:cxn>
                <a:cxn ang="0">
                  <a:pos x="244" y="13"/>
                </a:cxn>
                <a:cxn ang="0">
                  <a:pos x="246" y="9"/>
                </a:cxn>
                <a:cxn ang="0">
                  <a:pos x="246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40" y="0"/>
                </a:cxn>
                <a:cxn ang="0">
                  <a:pos x="237" y="0"/>
                </a:cxn>
                <a:cxn ang="0">
                  <a:pos x="237" y="0"/>
                </a:cxn>
              </a:cxnLst>
              <a:rect l="0" t="0" r="r" b="b"/>
              <a:pathLst>
                <a:path w="246" h="19">
                  <a:moveTo>
                    <a:pt x="237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9" y="19"/>
                  </a:lnTo>
                  <a:lnTo>
                    <a:pt x="237" y="19"/>
                  </a:lnTo>
                  <a:lnTo>
                    <a:pt x="237" y="19"/>
                  </a:lnTo>
                  <a:lnTo>
                    <a:pt x="240" y="17"/>
                  </a:lnTo>
                  <a:lnTo>
                    <a:pt x="242" y="15"/>
                  </a:lnTo>
                  <a:lnTo>
                    <a:pt x="244" y="13"/>
                  </a:lnTo>
                  <a:lnTo>
                    <a:pt x="246" y="9"/>
                  </a:lnTo>
                  <a:lnTo>
                    <a:pt x="246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40" y="0"/>
                  </a:lnTo>
                  <a:lnTo>
                    <a:pt x="237" y="0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67">
              <a:extLst>
                <a:ext uri="{FF2B5EF4-FFF2-40B4-BE49-F238E27FC236}">
                  <a16:creationId xmlns:a16="http://schemas.microsoft.com/office/drawing/2014/main" id="{C4AE3DFB-CE63-4C6C-9803-F57C345CE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4464050"/>
              <a:ext cx="371475" cy="71438"/>
            </a:xfrm>
            <a:custGeom>
              <a:avLst/>
              <a:gdLst/>
              <a:ahLst/>
              <a:cxnLst>
                <a:cxn ang="0">
                  <a:pos x="205" y="0"/>
                </a:cxn>
                <a:cxn ang="0">
                  <a:pos x="29" y="0"/>
                </a:cxn>
                <a:cxn ang="0">
                  <a:pos x="29" y="0"/>
                </a:cxn>
                <a:cxn ang="0">
                  <a:pos x="24" y="0"/>
                </a:cxn>
                <a:cxn ang="0">
                  <a:pos x="18" y="2"/>
                </a:cxn>
                <a:cxn ang="0">
                  <a:pos x="9" y="8"/>
                </a:cxn>
                <a:cxn ang="0">
                  <a:pos x="2" y="17"/>
                </a:cxn>
                <a:cxn ang="0">
                  <a:pos x="0" y="23"/>
                </a:cxn>
                <a:cxn ang="0">
                  <a:pos x="0" y="28"/>
                </a:cxn>
                <a:cxn ang="0">
                  <a:pos x="0" y="45"/>
                </a:cxn>
                <a:cxn ang="0">
                  <a:pos x="234" y="45"/>
                </a:cxn>
                <a:cxn ang="0">
                  <a:pos x="234" y="28"/>
                </a:cxn>
                <a:cxn ang="0">
                  <a:pos x="234" y="28"/>
                </a:cxn>
                <a:cxn ang="0">
                  <a:pos x="234" y="23"/>
                </a:cxn>
                <a:cxn ang="0">
                  <a:pos x="233" y="17"/>
                </a:cxn>
                <a:cxn ang="0">
                  <a:pos x="225" y="8"/>
                </a:cxn>
                <a:cxn ang="0">
                  <a:pos x="216" y="2"/>
                </a:cxn>
                <a:cxn ang="0">
                  <a:pos x="210" y="0"/>
                </a:cxn>
                <a:cxn ang="0">
                  <a:pos x="205" y="0"/>
                </a:cxn>
                <a:cxn ang="0">
                  <a:pos x="205" y="0"/>
                </a:cxn>
              </a:cxnLst>
              <a:rect l="0" t="0" r="r" b="b"/>
              <a:pathLst>
                <a:path w="234" h="45">
                  <a:moveTo>
                    <a:pt x="205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9" y="8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45"/>
                  </a:lnTo>
                  <a:lnTo>
                    <a:pt x="234" y="45"/>
                  </a:lnTo>
                  <a:lnTo>
                    <a:pt x="234" y="28"/>
                  </a:lnTo>
                  <a:lnTo>
                    <a:pt x="234" y="28"/>
                  </a:lnTo>
                  <a:lnTo>
                    <a:pt x="234" y="23"/>
                  </a:lnTo>
                  <a:lnTo>
                    <a:pt x="233" y="17"/>
                  </a:lnTo>
                  <a:lnTo>
                    <a:pt x="225" y="8"/>
                  </a:lnTo>
                  <a:lnTo>
                    <a:pt x="216" y="2"/>
                  </a:lnTo>
                  <a:lnTo>
                    <a:pt x="210" y="0"/>
                  </a:lnTo>
                  <a:lnTo>
                    <a:pt x="205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Freeform 68">
              <a:extLst>
                <a:ext uri="{FF2B5EF4-FFF2-40B4-BE49-F238E27FC236}">
                  <a16:creationId xmlns:a16="http://schemas.microsoft.com/office/drawing/2014/main" id="{3B7857D5-3DFB-46AA-A37D-48541E480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13" y="4324350"/>
              <a:ext cx="254000" cy="128588"/>
            </a:xfrm>
            <a:custGeom>
              <a:avLst/>
              <a:gdLst/>
              <a:ahLst/>
              <a:cxnLst>
                <a:cxn ang="0">
                  <a:pos x="160" y="81"/>
                </a:cxn>
                <a:cxn ang="0">
                  <a:pos x="160" y="81"/>
                </a:cxn>
                <a:cxn ang="0">
                  <a:pos x="159" y="64"/>
                </a:cxn>
                <a:cxn ang="0">
                  <a:pos x="155" y="50"/>
                </a:cxn>
                <a:cxn ang="0">
                  <a:pos x="148" y="35"/>
                </a:cxn>
                <a:cxn ang="0">
                  <a:pos x="136" y="24"/>
                </a:cxn>
                <a:cxn ang="0">
                  <a:pos x="125" y="15"/>
                </a:cxn>
                <a:cxn ang="0">
                  <a:pos x="112" y="7"/>
                </a:cxn>
                <a:cxn ang="0">
                  <a:pos x="96" y="2"/>
                </a:cxn>
                <a:cxn ang="0">
                  <a:pos x="81" y="0"/>
                </a:cxn>
                <a:cxn ang="0">
                  <a:pos x="81" y="0"/>
                </a:cxn>
                <a:cxn ang="0">
                  <a:pos x="64" y="2"/>
                </a:cxn>
                <a:cxn ang="0">
                  <a:pos x="50" y="7"/>
                </a:cxn>
                <a:cxn ang="0">
                  <a:pos x="35" y="15"/>
                </a:cxn>
                <a:cxn ang="0">
                  <a:pos x="24" y="24"/>
                </a:cxn>
                <a:cxn ang="0">
                  <a:pos x="13" y="35"/>
                </a:cxn>
                <a:cxn ang="0">
                  <a:pos x="5" y="50"/>
                </a:cxn>
                <a:cxn ang="0">
                  <a:pos x="2" y="64"/>
                </a:cxn>
                <a:cxn ang="0">
                  <a:pos x="0" y="81"/>
                </a:cxn>
                <a:cxn ang="0">
                  <a:pos x="160" y="81"/>
                </a:cxn>
              </a:cxnLst>
              <a:rect l="0" t="0" r="r" b="b"/>
              <a:pathLst>
                <a:path w="160" h="81">
                  <a:moveTo>
                    <a:pt x="160" y="81"/>
                  </a:moveTo>
                  <a:lnTo>
                    <a:pt x="160" y="81"/>
                  </a:lnTo>
                  <a:lnTo>
                    <a:pt x="159" y="64"/>
                  </a:lnTo>
                  <a:lnTo>
                    <a:pt x="155" y="50"/>
                  </a:lnTo>
                  <a:lnTo>
                    <a:pt x="148" y="35"/>
                  </a:lnTo>
                  <a:lnTo>
                    <a:pt x="136" y="24"/>
                  </a:lnTo>
                  <a:lnTo>
                    <a:pt x="125" y="15"/>
                  </a:lnTo>
                  <a:lnTo>
                    <a:pt x="112" y="7"/>
                  </a:lnTo>
                  <a:lnTo>
                    <a:pt x="96" y="2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64" y="2"/>
                  </a:lnTo>
                  <a:lnTo>
                    <a:pt x="50" y="7"/>
                  </a:lnTo>
                  <a:lnTo>
                    <a:pt x="35" y="15"/>
                  </a:lnTo>
                  <a:lnTo>
                    <a:pt x="24" y="24"/>
                  </a:lnTo>
                  <a:lnTo>
                    <a:pt x="13" y="35"/>
                  </a:lnTo>
                  <a:lnTo>
                    <a:pt x="5" y="50"/>
                  </a:lnTo>
                  <a:lnTo>
                    <a:pt x="2" y="64"/>
                  </a:lnTo>
                  <a:lnTo>
                    <a:pt x="0" y="81"/>
                  </a:lnTo>
                  <a:lnTo>
                    <a:pt x="160" y="8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1" name="Freeform 69">
              <a:extLst>
                <a:ext uri="{FF2B5EF4-FFF2-40B4-BE49-F238E27FC236}">
                  <a16:creationId xmlns:a16="http://schemas.microsoft.com/office/drawing/2014/main" id="{C4561CB2-B63F-4549-875C-C46E2B9D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3751263"/>
              <a:ext cx="260350" cy="117475"/>
            </a:xfrm>
            <a:custGeom>
              <a:avLst/>
              <a:gdLst/>
              <a:ahLst/>
              <a:cxnLst>
                <a:cxn ang="0">
                  <a:pos x="22" y="74"/>
                </a:cxn>
                <a:cxn ang="0">
                  <a:pos x="22" y="74"/>
                </a:cxn>
                <a:cxn ang="0">
                  <a:pos x="51" y="61"/>
                </a:cxn>
                <a:cxn ang="0">
                  <a:pos x="81" y="48"/>
                </a:cxn>
                <a:cxn ang="0">
                  <a:pos x="81" y="48"/>
                </a:cxn>
                <a:cxn ang="0">
                  <a:pos x="94" y="45"/>
                </a:cxn>
                <a:cxn ang="0">
                  <a:pos x="94" y="45"/>
                </a:cxn>
                <a:cxn ang="0">
                  <a:pos x="101" y="43"/>
                </a:cxn>
                <a:cxn ang="0">
                  <a:pos x="101" y="43"/>
                </a:cxn>
                <a:cxn ang="0">
                  <a:pos x="112" y="39"/>
                </a:cxn>
                <a:cxn ang="0">
                  <a:pos x="112" y="39"/>
                </a:cxn>
                <a:cxn ang="0">
                  <a:pos x="120" y="37"/>
                </a:cxn>
                <a:cxn ang="0">
                  <a:pos x="120" y="37"/>
                </a:cxn>
                <a:cxn ang="0">
                  <a:pos x="133" y="34"/>
                </a:cxn>
                <a:cxn ang="0">
                  <a:pos x="133" y="34"/>
                </a:cxn>
                <a:cxn ang="0">
                  <a:pos x="138" y="34"/>
                </a:cxn>
                <a:cxn ang="0">
                  <a:pos x="138" y="34"/>
                </a:cxn>
                <a:cxn ang="0">
                  <a:pos x="159" y="30"/>
                </a:cxn>
                <a:cxn ang="0">
                  <a:pos x="159" y="30"/>
                </a:cxn>
                <a:cxn ang="0">
                  <a:pos x="159" y="26"/>
                </a:cxn>
                <a:cxn ang="0">
                  <a:pos x="159" y="26"/>
                </a:cxn>
                <a:cxn ang="0">
                  <a:pos x="159" y="13"/>
                </a:cxn>
                <a:cxn ang="0">
                  <a:pos x="164" y="0"/>
                </a:cxn>
                <a:cxn ang="0">
                  <a:pos x="164" y="0"/>
                </a:cxn>
                <a:cxn ang="0">
                  <a:pos x="144" y="2"/>
                </a:cxn>
                <a:cxn ang="0">
                  <a:pos x="144" y="2"/>
                </a:cxn>
                <a:cxn ang="0">
                  <a:pos x="138" y="4"/>
                </a:cxn>
                <a:cxn ang="0">
                  <a:pos x="138" y="4"/>
                </a:cxn>
                <a:cxn ang="0">
                  <a:pos x="125" y="6"/>
                </a:cxn>
                <a:cxn ang="0">
                  <a:pos x="125" y="6"/>
                </a:cxn>
                <a:cxn ang="0">
                  <a:pos x="118" y="8"/>
                </a:cxn>
                <a:cxn ang="0">
                  <a:pos x="118" y="8"/>
                </a:cxn>
                <a:cxn ang="0">
                  <a:pos x="105" y="11"/>
                </a:cxn>
                <a:cxn ang="0">
                  <a:pos x="105" y="11"/>
                </a:cxn>
                <a:cxn ang="0">
                  <a:pos x="98" y="13"/>
                </a:cxn>
                <a:cxn ang="0">
                  <a:pos x="98" y="13"/>
                </a:cxn>
                <a:cxn ang="0">
                  <a:pos x="85" y="17"/>
                </a:cxn>
                <a:cxn ang="0">
                  <a:pos x="85" y="17"/>
                </a:cxn>
                <a:cxn ang="0">
                  <a:pos x="79" y="19"/>
                </a:cxn>
                <a:cxn ang="0">
                  <a:pos x="79" y="19"/>
                </a:cxn>
                <a:cxn ang="0">
                  <a:pos x="61" y="24"/>
                </a:cxn>
                <a:cxn ang="0">
                  <a:pos x="61" y="24"/>
                </a:cxn>
                <a:cxn ang="0">
                  <a:pos x="55" y="26"/>
                </a:cxn>
                <a:cxn ang="0">
                  <a:pos x="55" y="26"/>
                </a:cxn>
                <a:cxn ang="0">
                  <a:pos x="42" y="32"/>
                </a:cxn>
                <a:cxn ang="0">
                  <a:pos x="42" y="32"/>
                </a:cxn>
                <a:cxn ang="0">
                  <a:pos x="35" y="34"/>
                </a:cxn>
                <a:cxn ang="0">
                  <a:pos x="35" y="34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7" y="54"/>
                </a:cxn>
                <a:cxn ang="0">
                  <a:pos x="13" y="59"/>
                </a:cxn>
                <a:cxn ang="0">
                  <a:pos x="18" y="67"/>
                </a:cxn>
                <a:cxn ang="0">
                  <a:pos x="22" y="74"/>
                </a:cxn>
                <a:cxn ang="0">
                  <a:pos x="22" y="74"/>
                </a:cxn>
              </a:cxnLst>
              <a:rect l="0" t="0" r="r" b="b"/>
              <a:pathLst>
                <a:path w="164" h="74">
                  <a:moveTo>
                    <a:pt x="22" y="74"/>
                  </a:moveTo>
                  <a:lnTo>
                    <a:pt x="22" y="74"/>
                  </a:lnTo>
                  <a:lnTo>
                    <a:pt x="51" y="61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59" y="26"/>
                  </a:lnTo>
                  <a:lnTo>
                    <a:pt x="159" y="26"/>
                  </a:lnTo>
                  <a:lnTo>
                    <a:pt x="159" y="13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7" y="54"/>
                  </a:lnTo>
                  <a:lnTo>
                    <a:pt x="13" y="59"/>
                  </a:lnTo>
                  <a:lnTo>
                    <a:pt x="18" y="67"/>
                  </a:lnTo>
                  <a:lnTo>
                    <a:pt x="22" y="74"/>
                  </a:lnTo>
                  <a:lnTo>
                    <a:pt x="2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Freeform 70">
              <a:extLst>
                <a:ext uri="{FF2B5EF4-FFF2-40B4-BE49-F238E27FC236}">
                  <a16:creationId xmlns:a16="http://schemas.microsoft.com/office/drawing/2014/main" id="{B3D0C0A6-E77A-45C6-AB59-D68C8449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4183063"/>
              <a:ext cx="366712" cy="184150"/>
            </a:xfrm>
            <a:custGeom>
              <a:avLst/>
              <a:gdLst/>
              <a:ahLst/>
              <a:cxnLst>
                <a:cxn ang="0">
                  <a:pos x="114" y="116"/>
                </a:cxn>
                <a:cxn ang="0">
                  <a:pos x="114" y="116"/>
                </a:cxn>
                <a:cxn ang="0">
                  <a:pos x="125" y="115"/>
                </a:cxn>
                <a:cxn ang="0">
                  <a:pos x="138" y="113"/>
                </a:cxn>
                <a:cxn ang="0">
                  <a:pos x="149" y="111"/>
                </a:cxn>
                <a:cxn ang="0">
                  <a:pos x="158" y="107"/>
                </a:cxn>
                <a:cxn ang="0">
                  <a:pos x="179" y="96"/>
                </a:cxn>
                <a:cxn ang="0">
                  <a:pos x="195" y="81"/>
                </a:cxn>
                <a:cxn ang="0">
                  <a:pos x="210" y="65"/>
                </a:cxn>
                <a:cxn ang="0">
                  <a:pos x="221" y="44"/>
                </a:cxn>
                <a:cxn ang="0">
                  <a:pos x="225" y="35"/>
                </a:cxn>
                <a:cxn ang="0">
                  <a:pos x="227" y="24"/>
                </a:cxn>
                <a:cxn ang="0">
                  <a:pos x="229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4"/>
                </a:cxn>
                <a:cxn ang="0">
                  <a:pos x="3" y="35"/>
                </a:cxn>
                <a:cxn ang="0">
                  <a:pos x="7" y="44"/>
                </a:cxn>
                <a:cxn ang="0">
                  <a:pos x="18" y="65"/>
                </a:cxn>
                <a:cxn ang="0">
                  <a:pos x="33" y="81"/>
                </a:cxn>
                <a:cxn ang="0">
                  <a:pos x="49" y="96"/>
                </a:cxn>
                <a:cxn ang="0">
                  <a:pos x="70" y="107"/>
                </a:cxn>
                <a:cxn ang="0">
                  <a:pos x="79" y="111"/>
                </a:cxn>
                <a:cxn ang="0">
                  <a:pos x="90" y="113"/>
                </a:cxn>
                <a:cxn ang="0">
                  <a:pos x="103" y="115"/>
                </a:cxn>
                <a:cxn ang="0">
                  <a:pos x="114" y="116"/>
                </a:cxn>
                <a:cxn ang="0">
                  <a:pos x="114" y="116"/>
                </a:cxn>
              </a:cxnLst>
              <a:rect l="0" t="0" r="r" b="b"/>
              <a:pathLst>
                <a:path w="231" h="116">
                  <a:moveTo>
                    <a:pt x="114" y="116"/>
                  </a:moveTo>
                  <a:lnTo>
                    <a:pt x="114" y="116"/>
                  </a:lnTo>
                  <a:lnTo>
                    <a:pt x="125" y="115"/>
                  </a:lnTo>
                  <a:lnTo>
                    <a:pt x="138" y="113"/>
                  </a:lnTo>
                  <a:lnTo>
                    <a:pt x="149" y="111"/>
                  </a:lnTo>
                  <a:lnTo>
                    <a:pt x="158" y="107"/>
                  </a:lnTo>
                  <a:lnTo>
                    <a:pt x="179" y="96"/>
                  </a:lnTo>
                  <a:lnTo>
                    <a:pt x="195" y="81"/>
                  </a:lnTo>
                  <a:lnTo>
                    <a:pt x="210" y="65"/>
                  </a:lnTo>
                  <a:lnTo>
                    <a:pt x="221" y="44"/>
                  </a:lnTo>
                  <a:lnTo>
                    <a:pt x="225" y="35"/>
                  </a:lnTo>
                  <a:lnTo>
                    <a:pt x="227" y="24"/>
                  </a:lnTo>
                  <a:lnTo>
                    <a:pt x="229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4"/>
                  </a:lnTo>
                  <a:lnTo>
                    <a:pt x="3" y="35"/>
                  </a:lnTo>
                  <a:lnTo>
                    <a:pt x="7" y="44"/>
                  </a:lnTo>
                  <a:lnTo>
                    <a:pt x="18" y="65"/>
                  </a:lnTo>
                  <a:lnTo>
                    <a:pt x="33" y="81"/>
                  </a:lnTo>
                  <a:lnTo>
                    <a:pt x="49" y="96"/>
                  </a:lnTo>
                  <a:lnTo>
                    <a:pt x="70" y="107"/>
                  </a:lnTo>
                  <a:lnTo>
                    <a:pt x="79" y="111"/>
                  </a:lnTo>
                  <a:lnTo>
                    <a:pt x="90" y="113"/>
                  </a:lnTo>
                  <a:lnTo>
                    <a:pt x="103" y="115"/>
                  </a:lnTo>
                  <a:lnTo>
                    <a:pt x="114" y="116"/>
                  </a:lnTo>
                  <a:lnTo>
                    <a:pt x="114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71">
              <a:extLst>
                <a:ext uri="{FF2B5EF4-FFF2-40B4-BE49-F238E27FC236}">
                  <a16:creationId xmlns:a16="http://schemas.microsoft.com/office/drawing/2014/main" id="{231D3EF0-8A27-490B-AE57-0E42AB2B6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4144963"/>
              <a:ext cx="387350" cy="28575"/>
            </a:xfrm>
            <a:custGeom>
              <a:avLst/>
              <a:gdLst/>
              <a:ahLst/>
              <a:cxnLst>
                <a:cxn ang="0">
                  <a:pos x="235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17"/>
                </a:cxn>
                <a:cxn ang="0">
                  <a:pos x="6" y="18"/>
                </a:cxn>
                <a:cxn ang="0">
                  <a:pos x="9" y="18"/>
                </a:cxn>
                <a:cxn ang="0">
                  <a:pos x="235" y="18"/>
                </a:cxn>
                <a:cxn ang="0">
                  <a:pos x="235" y="18"/>
                </a:cxn>
                <a:cxn ang="0">
                  <a:pos x="239" y="18"/>
                </a:cxn>
                <a:cxn ang="0">
                  <a:pos x="242" y="17"/>
                </a:cxn>
                <a:cxn ang="0">
                  <a:pos x="244" y="13"/>
                </a:cxn>
                <a:cxn ang="0">
                  <a:pos x="244" y="9"/>
                </a:cxn>
                <a:cxn ang="0">
                  <a:pos x="244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39" y="0"/>
                </a:cxn>
                <a:cxn ang="0">
                  <a:pos x="235" y="0"/>
                </a:cxn>
                <a:cxn ang="0">
                  <a:pos x="235" y="0"/>
                </a:cxn>
              </a:cxnLst>
              <a:rect l="0" t="0" r="r" b="b"/>
              <a:pathLst>
                <a:path w="244" h="18">
                  <a:moveTo>
                    <a:pt x="235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7"/>
                  </a:lnTo>
                  <a:lnTo>
                    <a:pt x="6" y="18"/>
                  </a:lnTo>
                  <a:lnTo>
                    <a:pt x="9" y="18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9" y="18"/>
                  </a:lnTo>
                  <a:lnTo>
                    <a:pt x="242" y="17"/>
                  </a:lnTo>
                  <a:lnTo>
                    <a:pt x="244" y="13"/>
                  </a:lnTo>
                  <a:lnTo>
                    <a:pt x="244" y="9"/>
                  </a:lnTo>
                  <a:lnTo>
                    <a:pt x="244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39" y="0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72">
              <a:extLst>
                <a:ext uri="{FF2B5EF4-FFF2-40B4-BE49-F238E27FC236}">
                  <a16:creationId xmlns:a16="http://schemas.microsoft.com/office/drawing/2014/main" id="{BC841689-E48E-4DBF-9AB9-6904E58D4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3941763"/>
              <a:ext cx="123825" cy="188913"/>
            </a:xfrm>
            <a:custGeom>
              <a:avLst/>
              <a:gdLst/>
              <a:ahLst/>
              <a:cxnLst>
                <a:cxn ang="0">
                  <a:pos x="78" y="6"/>
                </a:cxn>
                <a:cxn ang="0">
                  <a:pos x="78" y="6"/>
                </a:cxn>
                <a:cxn ang="0">
                  <a:pos x="70" y="0"/>
                </a:cxn>
                <a:cxn ang="0">
                  <a:pos x="0" y="119"/>
                </a:cxn>
                <a:cxn ang="0">
                  <a:pos x="9" y="119"/>
                </a:cxn>
                <a:cxn ang="0">
                  <a:pos x="78" y="6"/>
                </a:cxn>
              </a:cxnLst>
              <a:rect l="0" t="0" r="r" b="b"/>
              <a:pathLst>
                <a:path w="78" h="119">
                  <a:moveTo>
                    <a:pt x="78" y="6"/>
                  </a:moveTo>
                  <a:lnTo>
                    <a:pt x="78" y="6"/>
                  </a:lnTo>
                  <a:lnTo>
                    <a:pt x="70" y="0"/>
                  </a:lnTo>
                  <a:lnTo>
                    <a:pt x="0" y="119"/>
                  </a:lnTo>
                  <a:lnTo>
                    <a:pt x="9" y="119"/>
                  </a:lnTo>
                  <a:lnTo>
                    <a:pt x="7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Freeform 73">
              <a:extLst>
                <a:ext uri="{FF2B5EF4-FFF2-40B4-BE49-F238E27FC236}">
                  <a16:creationId xmlns:a16="http://schemas.microsoft.com/office/drawing/2014/main" id="{3CD1A0C7-6C06-421D-A1B6-C571F866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4068763"/>
              <a:ext cx="238125" cy="61913"/>
            </a:xfrm>
            <a:custGeom>
              <a:avLst/>
              <a:gdLst/>
              <a:ahLst/>
              <a:cxnLst>
                <a:cxn ang="0">
                  <a:pos x="69" y="9"/>
                </a:cxn>
                <a:cxn ang="0">
                  <a:pos x="72" y="9"/>
                </a:cxn>
                <a:cxn ang="0">
                  <a:pos x="72" y="9"/>
                </a:cxn>
                <a:cxn ang="0">
                  <a:pos x="80" y="18"/>
                </a:cxn>
                <a:cxn ang="0">
                  <a:pos x="80" y="18"/>
                </a:cxn>
                <a:cxn ang="0">
                  <a:pos x="89" y="28"/>
                </a:cxn>
                <a:cxn ang="0">
                  <a:pos x="89" y="28"/>
                </a:cxn>
                <a:cxn ang="0">
                  <a:pos x="102" y="39"/>
                </a:cxn>
                <a:cxn ang="0">
                  <a:pos x="150" y="39"/>
                </a:cxn>
                <a:cxn ang="0">
                  <a:pos x="133" y="9"/>
                </a:cxn>
                <a:cxn ang="0">
                  <a:pos x="133" y="9"/>
                </a:cxn>
                <a:cxn ang="0">
                  <a:pos x="115" y="5"/>
                </a:cxn>
                <a:cxn ang="0">
                  <a:pos x="94" y="2"/>
                </a:cxn>
                <a:cxn ang="0">
                  <a:pos x="72" y="0"/>
                </a:cxn>
                <a:cxn ang="0">
                  <a:pos x="50" y="2"/>
                </a:cxn>
                <a:cxn ang="0">
                  <a:pos x="50" y="2"/>
                </a:cxn>
                <a:cxn ang="0">
                  <a:pos x="30" y="4"/>
                </a:cxn>
                <a:cxn ang="0">
                  <a:pos x="15" y="9"/>
                </a:cxn>
                <a:cxn ang="0">
                  <a:pos x="0" y="33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6" y="39"/>
                </a:cxn>
                <a:cxn ang="0">
                  <a:pos x="81" y="39"/>
                </a:cxn>
                <a:cxn ang="0">
                  <a:pos x="81" y="39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61" y="20"/>
                </a:cxn>
                <a:cxn ang="0">
                  <a:pos x="61" y="20"/>
                </a:cxn>
                <a:cxn ang="0">
                  <a:pos x="56" y="17"/>
                </a:cxn>
                <a:cxn ang="0">
                  <a:pos x="56" y="17"/>
                </a:cxn>
                <a:cxn ang="0">
                  <a:pos x="52" y="17"/>
                </a:cxn>
                <a:cxn ang="0">
                  <a:pos x="52" y="17"/>
                </a:cxn>
                <a:cxn ang="0">
                  <a:pos x="43" y="18"/>
                </a:cxn>
                <a:cxn ang="0">
                  <a:pos x="41" y="17"/>
                </a:cxn>
                <a:cxn ang="0">
                  <a:pos x="41" y="17"/>
                </a:cxn>
                <a:cxn ang="0">
                  <a:pos x="57" y="13"/>
                </a:cxn>
                <a:cxn ang="0">
                  <a:pos x="57" y="13"/>
                </a:cxn>
                <a:cxn ang="0">
                  <a:pos x="69" y="9"/>
                </a:cxn>
                <a:cxn ang="0">
                  <a:pos x="69" y="9"/>
                </a:cxn>
              </a:cxnLst>
              <a:rect l="0" t="0" r="r" b="b"/>
              <a:pathLst>
                <a:path w="150" h="39">
                  <a:moveTo>
                    <a:pt x="69" y="9"/>
                  </a:moveTo>
                  <a:lnTo>
                    <a:pt x="72" y="9"/>
                  </a:lnTo>
                  <a:lnTo>
                    <a:pt x="72" y="9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102" y="39"/>
                  </a:lnTo>
                  <a:lnTo>
                    <a:pt x="150" y="3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15" y="5"/>
                  </a:lnTo>
                  <a:lnTo>
                    <a:pt x="94" y="2"/>
                  </a:lnTo>
                  <a:lnTo>
                    <a:pt x="72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30" y="4"/>
                  </a:lnTo>
                  <a:lnTo>
                    <a:pt x="15" y="9"/>
                  </a:lnTo>
                  <a:lnTo>
                    <a:pt x="0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43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9" y="9"/>
                  </a:lnTo>
                  <a:lnTo>
                    <a:pt x="6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6" name="Freeform 74">
              <a:extLst>
                <a:ext uri="{FF2B5EF4-FFF2-40B4-BE49-F238E27FC236}">
                  <a16:creationId xmlns:a16="http://schemas.microsoft.com/office/drawing/2014/main" id="{BD4811D1-5524-4FE9-AE71-E1C4FE842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124325"/>
              <a:ext cx="6350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7" name="Freeform 75">
              <a:extLst>
                <a:ext uri="{FF2B5EF4-FFF2-40B4-BE49-F238E27FC236}">
                  <a16:creationId xmlns:a16="http://schemas.microsoft.com/office/drawing/2014/main" id="{623BF1BD-EA03-4F5D-BE9D-6838C30A1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300" y="3941763"/>
              <a:ext cx="123825" cy="188913"/>
            </a:xfrm>
            <a:custGeom>
              <a:avLst/>
              <a:gdLst/>
              <a:ahLst/>
              <a:cxnLst>
                <a:cxn ang="0">
                  <a:pos x="78" y="119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6"/>
                </a:cxn>
                <a:cxn ang="0">
                  <a:pos x="69" y="119"/>
                </a:cxn>
                <a:cxn ang="0">
                  <a:pos x="78" y="119"/>
                </a:cxn>
              </a:cxnLst>
              <a:rect l="0" t="0" r="r" b="b"/>
              <a:pathLst>
                <a:path w="78" h="119">
                  <a:moveTo>
                    <a:pt x="78" y="119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0" y="6"/>
                  </a:lnTo>
                  <a:lnTo>
                    <a:pt x="69" y="119"/>
                  </a:lnTo>
                  <a:lnTo>
                    <a:pt x="78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Freeform 76">
              <a:extLst>
                <a:ext uri="{FF2B5EF4-FFF2-40B4-BE49-F238E27FC236}">
                  <a16:creationId xmlns:a16="http://schemas.microsoft.com/office/drawing/2014/main" id="{8D377829-371F-4365-B459-1A3CF5254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163" y="3840163"/>
              <a:ext cx="104775" cy="101600"/>
            </a:xfrm>
            <a:custGeom>
              <a:avLst/>
              <a:gdLst/>
              <a:ahLst/>
              <a:cxnLst>
                <a:cxn ang="0">
                  <a:pos x="33" y="64"/>
                </a:cxn>
                <a:cxn ang="0">
                  <a:pos x="33" y="64"/>
                </a:cxn>
                <a:cxn ang="0">
                  <a:pos x="40" y="64"/>
                </a:cxn>
                <a:cxn ang="0">
                  <a:pos x="46" y="63"/>
                </a:cxn>
                <a:cxn ang="0">
                  <a:pos x="52" y="59"/>
                </a:cxn>
                <a:cxn ang="0">
                  <a:pos x="57" y="55"/>
                </a:cxn>
                <a:cxn ang="0">
                  <a:pos x="61" y="50"/>
                </a:cxn>
                <a:cxn ang="0">
                  <a:pos x="63" y="44"/>
                </a:cxn>
                <a:cxn ang="0">
                  <a:pos x="65" y="39"/>
                </a:cxn>
                <a:cxn ang="0">
                  <a:pos x="66" y="31"/>
                </a:cxn>
                <a:cxn ang="0">
                  <a:pos x="66" y="31"/>
                </a:cxn>
                <a:cxn ang="0">
                  <a:pos x="65" y="26"/>
                </a:cxn>
                <a:cxn ang="0">
                  <a:pos x="63" y="20"/>
                </a:cxn>
                <a:cxn ang="0">
                  <a:pos x="61" y="15"/>
                </a:cxn>
                <a:cxn ang="0">
                  <a:pos x="57" y="9"/>
                </a:cxn>
                <a:cxn ang="0">
                  <a:pos x="52" y="5"/>
                </a:cxn>
                <a:cxn ang="0">
                  <a:pos x="46" y="2"/>
                </a:cxn>
                <a:cxn ang="0">
                  <a:pos x="4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5" y="5"/>
                </a:cxn>
                <a:cxn ang="0">
                  <a:pos x="11" y="9"/>
                </a:cxn>
                <a:cxn ang="0">
                  <a:pos x="5" y="15"/>
                </a:cxn>
                <a:cxn ang="0">
                  <a:pos x="4" y="20"/>
                </a:cxn>
                <a:cxn ang="0">
                  <a:pos x="2" y="26"/>
                </a:cxn>
                <a:cxn ang="0">
                  <a:pos x="0" y="31"/>
                </a:cxn>
                <a:cxn ang="0">
                  <a:pos x="0" y="31"/>
                </a:cxn>
                <a:cxn ang="0">
                  <a:pos x="2" y="39"/>
                </a:cxn>
                <a:cxn ang="0">
                  <a:pos x="4" y="44"/>
                </a:cxn>
                <a:cxn ang="0">
                  <a:pos x="5" y="50"/>
                </a:cxn>
                <a:cxn ang="0">
                  <a:pos x="11" y="55"/>
                </a:cxn>
                <a:cxn ang="0">
                  <a:pos x="15" y="59"/>
                </a:cxn>
                <a:cxn ang="0">
                  <a:pos x="20" y="63"/>
                </a:cxn>
                <a:cxn ang="0">
                  <a:pos x="28" y="64"/>
                </a:cxn>
                <a:cxn ang="0">
                  <a:pos x="33" y="64"/>
                </a:cxn>
                <a:cxn ang="0">
                  <a:pos x="33" y="64"/>
                </a:cxn>
                <a:cxn ang="0">
                  <a:pos x="33" y="9"/>
                </a:cxn>
                <a:cxn ang="0">
                  <a:pos x="33" y="9"/>
                </a:cxn>
                <a:cxn ang="0">
                  <a:pos x="42" y="11"/>
                </a:cxn>
                <a:cxn ang="0">
                  <a:pos x="50" y="16"/>
                </a:cxn>
                <a:cxn ang="0">
                  <a:pos x="53" y="24"/>
                </a:cxn>
                <a:cxn ang="0">
                  <a:pos x="55" y="31"/>
                </a:cxn>
                <a:cxn ang="0">
                  <a:pos x="55" y="31"/>
                </a:cxn>
                <a:cxn ang="0">
                  <a:pos x="53" y="40"/>
                </a:cxn>
                <a:cxn ang="0">
                  <a:pos x="50" y="48"/>
                </a:cxn>
                <a:cxn ang="0">
                  <a:pos x="42" y="53"/>
                </a:cxn>
                <a:cxn ang="0">
                  <a:pos x="33" y="53"/>
                </a:cxn>
                <a:cxn ang="0">
                  <a:pos x="33" y="53"/>
                </a:cxn>
                <a:cxn ang="0">
                  <a:pos x="24" y="53"/>
                </a:cxn>
                <a:cxn ang="0">
                  <a:pos x="18" y="48"/>
                </a:cxn>
                <a:cxn ang="0">
                  <a:pos x="13" y="40"/>
                </a:cxn>
                <a:cxn ang="0">
                  <a:pos x="11" y="31"/>
                </a:cxn>
                <a:cxn ang="0">
                  <a:pos x="11" y="31"/>
                </a:cxn>
                <a:cxn ang="0">
                  <a:pos x="13" y="24"/>
                </a:cxn>
                <a:cxn ang="0">
                  <a:pos x="18" y="16"/>
                </a:cxn>
                <a:cxn ang="0">
                  <a:pos x="24" y="11"/>
                </a:cxn>
                <a:cxn ang="0">
                  <a:pos x="33" y="9"/>
                </a:cxn>
                <a:cxn ang="0">
                  <a:pos x="33" y="9"/>
                </a:cxn>
              </a:cxnLst>
              <a:rect l="0" t="0" r="r" b="b"/>
              <a:pathLst>
                <a:path w="66" h="64">
                  <a:moveTo>
                    <a:pt x="33" y="64"/>
                  </a:moveTo>
                  <a:lnTo>
                    <a:pt x="33" y="64"/>
                  </a:lnTo>
                  <a:lnTo>
                    <a:pt x="40" y="64"/>
                  </a:lnTo>
                  <a:lnTo>
                    <a:pt x="46" y="63"/>
                  </a:lnTo>
                  <a:lnTo>
                    <a:pt x="52" y="59"/>
                  </a:lnTo>
                  <a:lnTo>
                    <a:pt x="57" y="55"/>
                  </a:lnTo>
                  <a:lnTo>
                    <a:pt x="61" y="50"/>
                  </a:lnTo>
                  <a:lnTo>
                    <a:pt x="63" y="44"/>
                  </a:lnTo>
                  <a:lnTo>
                    <a:pt x="65" y="39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5" y="26"/>
                  </a:lnTo>
                  <a:lnTo>
                    <a:pt x="63" y="20"/>
                  </a:lnTo>
                  <a:lnTo>
                    <a:pt x="61" y="15"/>
                  </a:lnTo>
                  <a:lnTo>
                    <a:pt x="57" y="9"/>
                  </a:lnTo>
                  <a:lnTo>
                    <a:pt x="52" y="5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5" y="5"/>
                  </a:lnTo>
                  <a:lnTo>
                    <a:pt x="11" y="9"/>
                  </a:lnTo>
                  <a:lnTo>
                    <a:pt x="5" y="15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9"/>
                  </a:lnTo>
                  <a:lnTo>
                    <a:pt x="4" y="44"/>
                  </a:lnTo>
                  <a:lnTo>
                    <a:pt x="5" y="50"/>
                  </a:lnTo>
                  <a:lnTo>
                    <a:pt x="11" y="55"/>
                  </a:lnTo>
                  <a:lnTo>
                    <a:pt x="15" y="59"/>
                  </a:lnTo>
                  <a:lnTo>
                    <a:pt x="20" y="63"/>
                  </a:lnTo>
                  <a:lnTo>
                    <a:pt x="28" y="64"/>
                  </a:lnTo>
                  <a:lnTo>
                    <a:pt x="33" y="64"/>
                  </a:lnTo>
                  <a:lnTo>
                    <a:pt x="33" y="64"/>
                  </a:lnTo>
                  <a:close/>
                  <a:moveTo>
                    <a:pt x="33" y="9"/>
                  </a:moveTo>
                  <a:lnTo>
                    <a:pt x="33" y="9"/>
                  </a:lnTo>
                  <a:lnTo>
                    <a:pt x="42" y="11"/>
                  </a:lnTo>
                  <a:lnTo>
                    <a:pt x="50" y="16"/>
                  </a:lnTo>
                  <a:lnTo>
                    <a:pt x="53" y="24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3" y="40"/>
                  </a:lnTo>
                  <a:lnTo>
                    <a:pt x="50" y="48"/>
                  </a:lnTo>
                  <a:lnTo>
                    <a:pt x="42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24" y="53"/>
                  </a:lnTo>
                  <a:lnTo>
                    <a:pt x="18" y="48"/>
                  </a:lnTo>
                  <a:lnTo>
                    <a:pt x="13" y="4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3" y="24"/>
                  </a:lnTo>
                  <a:lnTo>
                    <a:pt x="18" y="16"/>
                  </a:lnTo>
                  <a:lnTo>
                    <a:pt x="24" y="11"/>
                  </a:lnTo>
                  <a:lnTo>
                    <a:pt x="33" y="9"/>
                  </a:lnTo>
                  <a:lnTo>
                    <a:pt x="33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77">
              <a:extLst>
                <a:ext uri="{FF2B5EF4-FFF2-40B4-BE49-F238E27FC236}">
                  <a16:creationId xmlns:a16="http://schemas.microsoft.com/office/drawing/2014/main" id="{890F8A4E-DD1B-436E-AC50-074D267B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975" y="3863975"/>
              <a:ext cx="58737" cy="55563"/>
            </a:xfrm>
            <a:custGeom>
              <a:avLst/>
              <a:gdLst/>
              <a:ahLst/>
              <a:cxnLst>
                <a:cxn ang="0">
                  <a:pos x="18" y="35"/>
                </a:cxn>
                <a:cxn ang="0">
                  <a:pos x="18" y="35"/>
                </a:cxn>
                <a:cxn ang="0">
                  <a:pos x="25" y="35"/>
                </a:cxn>
                <a:cxn ang="0">
                  <a:pos x="31" y="29"/>
                </a:cxn>
                <a:cxn ang="0">
                  <a:pos x="35" y="24"/>
                </a:cxn>
                <a:cxn ang="0">
                  <a:pos x="37" y="16"/>
                </a:cxn>
                <a:cxn ang="0">
                  <a:pos x="37" y="16"/>
                </a:cxn>
                <a:cxn ang="0">
                  <a:pos x="35" y="11"/>
                </a:cxn>
                <a:cxn ang="0">
                  <a:pos x="31" y="3"/>
                </a:cxn>
                <a:cxn ang="0">
                  <a:pos x="25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5" y="3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5"/>
                </a:cxn>
                <a:cxn ang="0">
                  <a:pos x="18" y="35"/>
                </a:cxn>
                <a:cxn ang="0">
                  <a:pos x="18" y="35"/>
                </a:cxn>
              </a:cxnLst>
              <a:rect l="0" t="0" r="r" b="b"/>
              <a:pathLst>
                <a:path w="37" h="35">
                  <a:moveTo>
                    <a:pt x="18" y="35"/>
                  </a:moveTo>
                  <a:lnTo>
                    <a:pt x="18" y="35"/>
                  </a:lnTo>
                  <a:lnTo>
                    <a:pt x="25" y="35"/>
                  </a:lnTo>
                  <a:lnTo>
                    <a:pt x="31" y="29"/>
                  </a:lnTo>
                  <a:lnTo>
                    <a:pt x="35" y="24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1"/>
                  </a:lnTo>
                  <a:lnTo>
                    <a:pt x="31" y="3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5"/>
                  </a:lnTo>
                  <a:lnTo>
                    <a:pt x="18" y="35"/>
                  </a:lnTo>
                  <a:lnTo>
                    <a:pt x="18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Freeform 78">
              <a:extLst>
                <a:ext uri="{FF2B5EF4-FFF2-40B4-BE49-F238E27FC236}">
                  <a16:creationId xmlns:a16="http://schemas.microsoft.com/office/drawing/2014/main" id="{6E93E864-E81F-4872-9D8B-B1A16594D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3940175"/>
              <a:ext cx="123825" cy="184150"/>
            </a:xfrm>
            <a:custGeom>
              <a:avLst/>
              <a:gdLst/>
              <a:ahLst/>
              <a:cxnLst>
                <a:cxn ang="0">
                  <a:pos x="11" y="116"/>
                </a:cxn>
                <a:cxn ang="0">
                  <a:pos x="78" y="5"/>
                </a:cxn>
                <a:cxn ang="0">
                  <a:pos x="78" y="5"/>
                </a:cxn>
                <a:cxn ang="0">
                  <a:pos x="70" y="0"/>
                </a:cxn>
                <a:cxn ang="0">
                  <a:pos x="39" y="53"/>
                </a:cxn>
                <a:cxn ang="0">
                  <a:pos x="39" y="53"/>
                </a:cxn>
                <a:cxn ang="0">
                  <a:pos x="0" y="116"/>
                </a:cxn>
                <a:cxn ang="0">
                  <a:pos x="11" y="116"/>
                </a:cxn>
              </a:cxnLst>
              <a:rect l="0" t="0" r="r" b="b"/>
              <a:pathLst>
                <a:path w="78" h="116">
                  <a:moveTo>
                    <a:pt x="11" y="116"/>
                  </a:moveTo>
                  <a:lnTo>
                    <a:pt x="78" y="5"/>
                  </a:lnTo>
                  <a:lnTo>
                    <a:pt x="78" y="5"/>
                  </a:lnTo>
                  <a:lnTo>
                    <a:pt x="70" y="0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0" y="116"/>
                  </a:lnTo>
                  <a:lnTo>
                    <a:pt x="11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79">
              <a:extLst>
                <a:ext uri="{FF2B5EF4-FFF2-40B4-BE49-F238E27FC236}">
                  <a16:creationId xmlns:a16="http://schemas.microsoft.com/office/drawing/2014/main" id="{E0067916-B43E-48C6-9BA2-84A9F62E08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875" y="4003675"/>
              <a:ext cx="203200" cy="120650"/>
            </a:xfrm>
            <a:custGeom>
              <a:avLst/>
              <a:gdLst/>
              <a:ahLst/>
              <a:cxnLst>
                <a:cxn ang="0">
                  <a:pos x="128" y="61"/>
                </a:cxn>
                <a:cxn ang="0">
                  <a:pos x="91" y="0"/>
                </a:cxn>
                <a:cxn ang="0">
                  <a:pos x="30" y="0"/>
                </a:cxn>
                <a:cxn ang="0">
                  <a:pos x="0" y="50"/>
                </a:cxn>
                <a:cxn ang="0">
                  <a:pos x="0" y="76"/>
                </a:cxn>
                <a:cxn ang="0">
                  <a:pos x="128" y="76"/>
                </a:cxn>
                <a:cxn ang="0">
                  <a:pos x="128" y="61"/>
                </a:cxn>
                <a:cxn ang="0">
                  <a:pos x="100" y="74"/>
                </a:cxn>
                <a:cxn ang="0">
                  <a:pos x="26" y="74"/>
                </a:cxn>
                <a:cxn ang="0">
                  <a:pos x="26" y="74"/>
                </a:cxn>
                <a:cxn ang="0">
                  <a:pos x="24" y="72"/>
                </a:cxn>
                <a:cxn ang="0">
                  <a:pos x="22" y="69"/>
                </a:cxn>
                <a:cxn ang="0">
                  <a:pos x="22" y="69"/>
                </a:cxn>
                <a:cxn ang="0">
                  <a:pos x="24" y="67"/>
                </a:cxn>
                <a:cxn ang="0">
                  <a:pos x="26" y="65"/>
                </a:cxn>
                <a:cxn ang="0">
                  <a:pos x="100" y="65"/>
                </a:cxn>
                <a:cxn ang="0">
                  <a:pos x="100" y="65"/>
                </a:cxn>
                <a:cxn ang="0">
                  <a:pos x="104" y="67"/>
                </a:cxn>
                <a:cxn ang="0">
                  <a:pos x="104" y="69"/>
                </a:cxn>
                <a:cxn ang="0">
                  <a:pos x="104" y="69"/>
                </a:cxn>
                <a:cxn ang="0">
                  <a:pos x="104" y="72"/>
                </a:cxn>
                <a:cxn ang="0">
                  <a:pos x="100" y="74"/>
                </a:cxn>
                <a:cxn ang="0">
                  <a:pos x="100" y="74"/>
                </a:cxn>
                <a:cxn ang="0">
                  <a:pos x="100" y="54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24" y="52"/>
                </a:cxn>
                <a:cxn ang="0">
                  <a:pos x="22" y="50"/>
                </a:cxn>
                <a:cxn ang="0">
                  <a:pos x="22" y="50"/>
                </a:cxn>
                <a:cxn ang="0">
                  <a:pos x="24" y="48"/>
                </a:cxn>
                <a:cxn ang="0">
                  <a:pos x="26" y="46"/>
                </a:cxn>
                <a:cxn ang="0">
                  <a:pos x="100" y="46"/>
                </a:cxn>
                <a:cxn ang="0">
                  <a:pos x="100" y="46"/>
                </a:cxn>
                <a:cxn ang="0">
                  <a:pos x="104" y="48"/>
                </a:cxn>
                <a:cxn ang="0">
                  <a:pos x="104" y="50"/>
                </a:cxn>
                <a:cxn ang="0">
                  <a:pos x="104" y="50"/>
                </a:cxn>
                <a:cxn ang="0">
                  <a:pos x="104" y="52"/>
                </a:cxn>
                <a:cxn ang="0">
                  <a:pos x="100" y="54"/>
                </a:cxn>
                <a:cxn ang="0">
                  <a:pos x="100" y="54"/>
                </a:cxn>
                <a:cxn ang="0">
                  <a:pos x="100" y="35"/>
                </a:cxn>
                <a:cxn ang="0">
                  <a:pos x="74" y="35"/>
                </a:cxn>
                <a:cxn ang="0">
                  <a:pos x="26" y="35"/>
                </a:cxn>
                <a:cxn ang="0">
                  <a:pos x="26" y="35"/>
                </a:cxn>
                <a:cxn ang="0">
                  <a:pos x="24" y="34"/>
                </a:cxn>
                <a:cxn ang="0">
                  <a:pos x="22" y="32"/>
                </a:cxn>
                <a:cxn ang="0">
                  <a:pos x="22" y="32"/>
                </a:cxn>
                <a:cxn ang="0">
                  <a:pos x="24" y="28"/>
                </a:cxn>
                <a:cxn ang="0">
                  <a:pos x="26" y="28"/>
                </a:cxn>
                <a:cxn ang="0">
                  <a:pos x="44" y="28"/>
                </a:cxn>
                <a:cxn ang="0">
                  <a:pos x="100" y="28"/>
                </a:cxn>
                <a:cxn ang="0">
                  <a:pos x="100" y="28"/>
                </a:cxn>
                <a:cxn ang="0">
                  <a:pos x="104" y="28"/>
                </a:cxn>
                <a:cxn ang="0">
                  <a:pos x="104" y="32"/>
                </a:cxn>
                <a:cxn ang="0">
                  <a:pos x="104" y="32"/>
                </a:cxn>
                <a:cxn ang="0">
                  <a:pos x="104" y="34"/>
                </a:cxn>
                <a:cxn ang="0">
                  <a:pos x="100" y="35"/>
                </a:cxn>
                <a:cxn ang="0">
                  <a:pos x="100" y="35"/>
                </a:cxn>
              </a:cxnLst>
              <a:rect l="0" t="0" r="r" b="b"/>
              <a:pathLst>
                <a:path w="128" h="76">
                  <a:moveTo>
                    <a:pt x="128" y="61"/>
                  </a:moveTo>
                  <a:lnTo>
                    <a:pt x="91" y="0"/>
                  </a:lnTo>
                  <a:lnTo>
                    <a:pt x="30" y="0"/>
                  </a:lnTo>
                  <a:lnTo>
                    <a:pt x="0" y="50"/>
                  </a:lnTo>
                  <a:lnTo>
                    <a:pt x="0" y="76"/>
                  </a:lnTo>
                  <a:lnTo>
                    <a:pt x="128" y="76"/>
                  </a:lnTo>
                  <a:lnTo>
                    <a:pt x="128" y="61"/>
                  </a:lnTo>
                  <a:close/>
                  <a:moveTo>
                    <a:pt x="100" y="74"/>
                  </a:move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4" y="67"/>
                  </a:lnTo>
                  <a:lnTo>
                    <a:pt x="26" y="65"/>
                  </a:lnTo>
                  <a:lnTo>
                    <a:pt x="100" y="65"/>
                  </a:lnTo>
                  <a:lnTo>
                    <a:pt x="100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72"/>
                  </a:lnTo>
                  <a:lnTo>
                    <a:pt x="100" y="74"/>
                  </a:lnTo>
                  <a:lnTo>
                    <a:pt x="100" y="74"/>
                  </a:lnTo>
                  <a:close/>
                  <a:moveTo>
                    <a:pt x="100" y="54"/>
                  </a:moveTo>
                  <a:lnTo>
                    <a:pt x="26" y="54"/>
                  </a:lnTo>
                  <a:lnTo>
                    <a:pt x="26" y="54"/>
                  </a:lnTo>
                  <a:lnTo>
                    <a:pt x="24" y="52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6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0" y="54"/>
                  </a:lnTo>
                  <a:lnTo>
                    <a:pt x="100" y="54"/>
                  </a:lnTo>
                  <a:close/>
                  <a:moveTo>
                    <a:pt x="100" y="35"/>
                  </a:moveTo>
                  <a:lnTo>
                    <a:pt x="7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44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4"/>
                  </a:lnTo>
                  <a:lnTo>
                    <a:pt x="100" y="35"/>
                  </a:lnTo>
                  <a:lnTo>
                    <a:pt x="10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2" name="Freeform 80">
              <a:extLst>
                <a:ext uri="{FF2B5EF4-FFF2-40B4-BE49-F238E27FC236}">
                  <a16:creationId xmlns:a16="http://schemas.microsoft.com/office/drawing/2014/main" id="{72F10891-EBD2-4958-AA4D-5695B8243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813" y="3884613"/>
              <a:ext cx="127000" cy="439738"/>
            </a:xfrm>
            <a:custGeom>
              <a:avLst/>
              <a:gdLst/>
              <a:ahLst/>
              <a:cxnLst>
                <a:cxn ang="0">
                  <a:pos x="39" y="7"/>
                </a:cxn>
                <a:cxn ang="0">
                  <a:pos x="39" y="7"/>
                </a:cxn>
                <a:cxn ang="0">
                  <a:pos x="24" y="5"/>
                </a:cxn>
                <a:cxn ang="0">
                  <a:pos x="11" y="1"/>
                </a:cxn>
                <a:cxn ang="0">
                  <a:pos x="0" y="277"/>
                </a:cxn>
                <a:cxn ang="0">
                  <a:pos x="0" y="277"/>
                </a:cxn>
                <a:cxn ang="0">
                  <a:pos x="10" y="273"/>
                </a:cxn>
                <a:cxn ang="0">
                  <a:pos x="19" y="269"/>
                </a:cxn>
                <a:cxn ang="0">
                  <a:pos x="30" y="268"/>
                </a:cxn>
                <a:cxn ang="0">
                  <a:pos x="41" y="268"/>
                </a:cxn>
                <a:cxn ang="0">
                  <a:pos x="41" y="268"/>
                </a:cxn>
                <a:cxn ang="0">
                  <a:pos x="50" y="268"/>
                </a:cxn>
                <a:cxn ang="0">
                  <a:pos x="61" y="269"/>
                </a:cxn>
                <a:cxn ang="0">
                  <a:pos x="71" y="273"/>
                </a:cxn>
                <a:cxn ang="0">
                  <a:pos x="80" y="277"/>
                </a:cxn>
                <a:cxn ang="0">
                  <a:pos x="69" y="0"/>
                </a:cxn>
                <a:cxn ang="0">
                  <a:pos x="69" y="0"/>
                </a:cxn>
                <a:cxn ang="0">
                  <a:pos x="54" y="5"/>
                </a:cxn>
                <a:cxn ang="0">
                  <a:pos x="39" y="7"/>
                </a:cxn>
                <a:cxn ang="0">
                  <a:pos x="39" y="7"/>
                </a:cxn>
              </a:cxnLst>
              <a:rect l="0" t="0" r="r" b="b"/>
              <a:pathLst>
                <a:path w="80" h="277">
                  <a:moveTo>
                    <a:pt x="39" y="7"/>
                  </a:moveTo>
                  <a:lnTo>
                    <a:pt x="39" y="7"/>
                  </a:lnTo>
                  <a:lnTo>
                    <a:pt x="24" y="5"/>
                  </a:lnTo>
                  <a:lnTo>
                    <a:pt x="11" y="1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10" y="273"/>
                  </a:lnTo>
                  <a:lnTo>
                    <a:pt x="19" y="269"/>
                  </a:lnTo>
                  <a:lnTo>
                    <a:pt x="30" y="268"/>
                  </a:lnTo>
                  <a:lnTo>
                    <a:pt x="41" y="268"/>
                  </a:lnTo>
                  <a:lnTo>
                    <a:pt x="41" y="268"/>
                  </a:lnTo>
                  <a:lnTo>
                    <a:pt x="50" y="268"/>
                  </a:lnTo>
                  <a:lnTo>
                    <a:pt x="61" y="269"/>
                  </a:lnTo>
                  <a:lnTo>
                    <a:pt x="71" y="273"/>
                  </a:lnTo>
                  <a:lnTo>
                    <a:pt x="80" y="277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54" y="5"/>
                  </a:lnTo>
                  <a:lnTo>
                    <a:pt x="39" y="7"/>
                  </a:lnTo>
                  <a:lnTo>
                    <a:pt x="39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3" name="Freeform 81">
              <a:extLst>
                <a:ext uri="{FF2B5EF4-FFF2-40B4-BE49-F238E27FC236}">
                  <a16:creationId xmlns:a16="http://schemas.microsoft.com/office/drawing/2014/main" id="{35B68F49-55F5-4398-BE6C-0841C4C74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3657600"/>
              <a:ext cx="73025" cy="41275"/>
            </a:xfrm>
            <a:custGeom>
              <a:avLst/>
              <a:gdLst/>
              <a:ahLst/>
              <a:cxnLst>
                <a:cxn ang="0">
                  <a:pos x="46" y="26"/>
                </a:cxn>
                <a:cxn ang="0">
                  <a:pos x="46" y="19"/>
                </a:cxn>
                <a:cxn ang="0">
                  <a:pos x="46" y="19"/>
                </a:cxn>
                <a:cxn ang="0">
                  <a:pos x="44" y="11"/>
                </a:cxn>
                <a:cxn ang="0">
                  <a:pos x="41" y="6"/>
                </a:cxn>
                <a:cxn ang="0">
                  <a:pos x="35" y="0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2" y="11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11" y="22"/>
                </a:cxn>
                <a:cxn ang="0">
                  <a:pos x="22" y="21"/>
                </a:cxn>
                <a:cxn ang="0">
                  <a:pos x="22" y="21"/>
                </a:cxn>
                <a:cxn ang="0">
                  <a:pos x="35" y="22"/>
                </a:cxn>
                <a:cxn ang="0">
                  <a:pos x="46" y="26"/>
                </a:cxn>
                <a:cxn ang="0">
                  <a:pos x="46" y="26"/>
                </a:cxn>
              </a:cxnLst>
              <a:rect l="0" t="0" r="r" b="b"/>
              <a:pathLst>
                <a:path w="46" h="26">
                  <a:moveTo>
                    <a:pt x="46" y="26"/>
                  </a:moveTo>
                  <a:lnTo>
                    <a:pt x="46" y="19"/>
                  </a:lnTo>
                  <a:lnTo>
                    <a:pt x="46" y="19"/>
                  </a:lnTo>
                  <a:lnTo>
                    <a:pt x="44" y="11"/>
                  </a:lnTo>
                  <a:lnTo>
                    <a:pt x="41" y="6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1" y="22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35" y="22"/>
                  </a:lnTo>
                  <a:lnTo>
                    <a:pt x="46" y="26"/>
                  </a:lnTo>
                  <a:lnTo>
                    <a:pt x="46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4" name="Freeform 82">
              <a:extLst>
                <a:ext uri="{FF2B5EF4-FFF2-40B4-BE49-F238E27FC236}">
                  <a16:creationId xmlns:a16="http://schemas.microsoft.com/office/drawing/2014/main" id="{D640820E-D51A-4475-9D3F-07C57C5CA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3705225"/>
              <a:ext cx="173037" cy="176213"/>
            </a:xfrm>
            <a:custGeom>
              <a:avLst/>
              <a:gdLst/>
              <a:ahLst/>
              <a:cxnLst>
                <a:cxn ang="0">
                  <a:pos x="55" y="111"/>
                </a:cxn>
                <a:cxn ang="0">
                  <a:pos x="76" y="105"/>
                </a:cxn>
                <a:cxn ang="0">
                  <a:pos x="94" y="94"/>
                </a:cxn>
                <a:cxn ang="0">
                  <a:pos x="105" y="77"/>
                </a:cxn>
                <a:cxn ang="0">
                  <a:pos x="109" y="55"/>
                </a:cxn>
                <a:cxn ang="0">
                  <a:pos x="109" y="44"/>
                </a:cxn>
                <a:cxn ang="0">
                  <a:pos x="100" y="24"/>
                </a:cxn>
                <a:cxn ang="0">
                  <a:pos x="85" y="9"/>
                </a:cxn>
                <a:cxn ang="0">
                  <a:pos x="66" y="2"/>
                </a:cxn>
                <a:cxn ang="0">
                  <a:pos x="55" y="0"/>
                </a:cxn>
                <a:cxn ang="0">
                  <a:pos x="33" y="5"/>
                </a:cxn>
                <a:cxn ang="0">
                  <a:pos x="16" y="16"/>
                </a:cxn>
                <a:cxn ang="0">
                  <a:pos x="3" y="33"/>
                </a:cxn>
                <a:cxn ang="0">
                  <a:pos x="0" y="55"/>
                </a:cxn>
                <a:cxn ang="0">
                  <a:pos x="2" y="66"/>
                </a:cxn>
                <a:cxn ang="0">
                  <a:pos x="9" y="87"/>
                </a:cxn>
                <a:cxn ang="0">
                  <a:pos x="24" y="101"/>
                </a:cxn>
                <a:cxn ang="0">
                  <a:pos x="44" y="109"/>
                </a:cxn>
                <a:cxn ang="0">
                  <a:pos x="55" y="111"/>
                </a:cxn>
                <a:cxn ang="0">
                  <a:pos x="55" y="18"/>
                </a:cxn>
                <a:cxn ang="0">
                  <a:pos x="68" y="22"/>
                </a:cxn>
                <a:cxn ang="0">
                  <a:pos x="81" y="29"/>
                </a:cxn>
                <a:cxn ang="0">
                  <a:pos x="88" y="40"/>
                </a:cxn>
                <a:cxn ang="0">
                  <a:pos x="90" y="55"/>
                </a:cxn>
                <a:cxn ang="0">
                  <a:pos x="90" y="63"/>
                </a:cxn>
                <a:cxn ang="0">
                  <a:pos x="85" y="76"/>
                </a:cxn>
                <a:cxn ang="0">
                  <a:pos x="76" y="85"/>
                </a:cxn>
                <a:cxn ang="0">
                  <a:pos x="63" y="90"/>
                </a:cxn>
                <a:cxn ang="0">
                  <a:pos x="55" y="92"/>
                </a:cxn>
                <a:cxn ang="0">
                  <a:pos x="40" y="88"/>
                </a:cxn>
                <a:cxn ang="0">
                  <a:pos x="29" y="81"/>
                </a:cxn>
                <a:cxn ang="0">
                  <a:pos x="22" y="70"/>
                </a:cxn>
                <a:cxn ang="0">
                  <a:pos x="18" y="55"/>
                </a:cxn>
                <a:cxn ang="0">
                  <a:pos x="20" y="48"/>
                </a:cxn>
                <a:cxn ang="0">
                  <a:pos x="24" y="35"/>
                </a:cxn>
                <a:cxn ang="0">
                  <a:pos x="35" y="26"/>
                </a:cxn>
                <a:cxn ang="0">
                  <a:pos x="48" y="20"/>
                </a:cxn>
                <a:cxn ang="0">
                  <a:pos x="55" y="18"/>
                </a:cxn>
              </a:cxnLst>
              <a:rect l="0" t="0" r="r" b="b"/>
              <a:pathLst>
                <a:path w="109" h="111">
                  <a:moveTo>
                    <a:pt x="55" y="111"/>
                  </a:moveTo>
                  <a:lnTo>
                    <a:pt x="55" y="111"/>
                  </a:lnTo>
                  <a:lnTo>
                    <a:pt x="66" y="109"/>
                  </a:lnTo>
                  <a:lnTo>
                    <a:pt x="76" y="105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7"/>
                  </a:lnTo>
                  <a:lnTo>
                    <a:pt x="105" y="77"/>
                  </a:lnTo>
                  <a:lnTo>
                    <a:pt x="109" y="66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44"/>
                  </a:lnTo>
                  <a:lnTo>
                    <a:pt x="105" y="33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6" y="2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4" y="2"/>
                  </a:lnTo>
                  <a:lnTo>
                    <a:pt x="33" y="5"/>
                  </a:lnTo>
                  <a:lnTo>
                    <a:pt x="24" y="9"/>
                  </a:lnTo>
                  <a:lnTo>
                    <a:pt x="16" y="16"/>
                  </a:lnTo>
                  <a:lnTo>
                    <a:pt x="9" y="24"/>
                  </a:lnTo>
                  <a:lnTo>
                    <a:pt x="3" y="33"/>
                  </a:lnTo>
                  <a:lnTo>
                    <a:pt x="2" y="44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6"/>
                  </a:lnTo>
                  <a:lnTo>
                    <a:pt x="3" y="77"/>
                  </a:lnTo>
                  <a:lnTo>
                    <a:pt x="9" y="87"/>
                  </a:lnTo>
                  <a:lnTo>
                    <a:pt x="16" y="94"/>
                  </a:lnTo>
                  <a:lnTo>
                    <a:pt x="24" y="101"/>
                  </a:lnTo>
                  <a:lnTo>
                    <a:pt x="33" y="105"/>
                  </a:lnTo>
                  <a:lnTo>
                    <a:pt x="44" y="109"/>
                  </a:lnTo>
                  <a:lnTo>
                    <a:pt x="55" y="111"/>
                  </a:lnTo>
                  <a:lnTo>
                    <a:pt x="55" y="111"/>
                  </a:lnTo>
                  <a:close/>
                  <a:moveTo>
                    <a:pt x="55" y="18"/>
                  </a:moveTo>
                  <a:lnTo>
                    <a:pt x="55" y="18"/>
                  </a:lnTo>
                  <a:lnTo>
                    <a:pt x="63" y="20"/>
                  </a:lnTo>
                  <a:lnTo>
                    <a:pt x="68" y="22"/>
                  </a:lnTo>
                  <a:lnTo>
                    <a:pt x="76" y="26"/>
                  </a:lnTo>
                  <a:lnTo>
                    <a:pt x="81" y="29"/>
                  </a:lnTo>
                  <a:lnTo>
                    <a:pt x="85" y="35"/>
                  </a:lnTo>
                  <a:lnTo>
                    <a:pt x="88" y="40"/>
                  </a:lnTo>
                  <a:lnTo>
                    <a:pt x="90" y="48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63"/>
                  </a:lnTo>
                  <a:lnTo>
                    <a:pt x="88" y="70"/>
                  </a:lnTo>
                  <a:lnTo>
                    <a:pt x="85" y="76"/>
                  </a:lnTo>
                  <a:lnTo>
                    <a:pt x="81" y="81"/>
                  </a:lnTo>
                  <a:lnTo>
                    <a:pt x="76" y="85"/>
                  </a:lnTo>
                  <a:lnTo>
                    <a:pt x="68" y="88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48" y="90"/>
                  </a:lnTo>
                  <a:lnTo>
                    <a:pt x="40" y="88"/>
                  </a:lnTo>
                  <a:lnTo>
                    <a:pt x="35" y="85"/>
                  </a:lnTo>
                  <a:lnTo>
                    <a:pt x="29" y="81"/>
                  </a:lnTo>
                  <a:lnTo>
                    <a:pt x="24" y="76"/>
                  </a:lnTo>
                  <a:lnTo>
                    <a:pt x="22" y="70"/>
                  </a:lnTo>
                  <a:lnTo>
                    <a:pt x="20" y="6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20" y="48"/>
                  </a:lnTo>
                  <a:lnTo>
                    <a:pt x="22" y="40"/>
                  </a:lnTo>
                  <a:lnTo>
                    <a:pt x="24" y="35"/>
                  </a:lnTo>
                  <a:lnTo>
                    <a:pt x="29" y="29"/>
                  </a:lnTo>
                  <a:lnTo>
                    <a:pt x="35" y="26"/>
                  </a:lnTo>
                  <a:lnTo>
                    <a:pt x="40" y="22"/>
                  </a:lnTo>
                  <a:lnTo>
                    <a:pt x="48" y="20"/>
                  </a:lnTo>
                  <a:lnTo>
                    <a:pt x="55" y="18"/>
                  </a:lnTo>
                  <a:lnTo>
                    <a:pt x="55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5" name="Freeform 83">
              <a:extLst>
                <a:ext uri="{FF2B5EF4-FFF2-40B4-BE49-F238E27FC236}">
                  <a16:creationId xmlns:a16="http://schemas.microsoft.com/office/drawing/2014/main" id="{F9929E4E-772B-4D2C-89A5-39B3CC28C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3751263"/>
              <a:ext cx="82550" cy="82550"/>
            </a:xfrm>
            <a:custGeom>
              <a:avLst/>
              <a:gdLst/>
              <a:ahLst/>
              <a:cxnLst>
                <a:cxn ang="0">
                  <a:pos x="26" y="52"/>
                </a:cxn>
                <a:cxn ang="0">
                  <a:pos x="26" y="52"/>
                </a:cxn>
                <a:cxn ang="0">
                  <a:pos x="35" y="50"/>
                </a:cxn>
                <a:cxn ang="0">
                  <a:pos x="45" y="45"/>
                </a:cxn>
                <a:cxn ang="0">
                  <a:pos x="50" y="37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0" y="15"/>
                </a:cxn>
                <a:cxn ang="0">
                  <a:pos x="45" y="8"/>
                </a:cxn>
                <a:cxn ang="0">
                  <a:pos x="35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15" y="2"/>
                </a:cxn>
                <a:cxn ang="0">
                  <a:pos x="8" y="8"/>
                </a:cxn>
                <a:cxn ang="0">
                  <a:pos x="2" y="15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7"/>
                </a:cxn>
                <a:cxn ang="0">
                  <a:pos x="8" y="45"/>
                </a:cxn>
                <a:cxn ang="0">
                  <a:pos x="15" y="50"/>
                </a:cxn>
                <a:cxn ang="0">
                  <a:pos x="26" y="52"/>
                </a:cxn>
                <a:cxn ang="0">
                  <a:pos x="26" y="52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lnTo>
                    <a:pt x="26" y="52"/>
                  </a:lnTo>
                  <a:lnTo>
                    <a:pt x="35" y="50"/>
                  </a:lnTo>
                  <a:lnTo>
                    <a:pt x="45" y="45"/>
                  </a:lnTo>
                  <a:lnTo>
                    <a:pt x="50" y="37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15"/>
                  </a:lnTo>
                  <a:lnTo>
                    <a:pt x="45" y="8"/>
                  </a:lnTo>
                  <a:lnTo>
                    <a:pt x="35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5" y="2"/>
                  </a:lnTo>
                  <a:lnTo>
                    <a:pt x="8" y="8"/>
                  </a:lnTo>
                  <a:lnTo>
                    <a:pt x="2" y="1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8" y="45"/>
                  </a:lnTo>
                  <a:lnTo>
                    <a:pt x="15" y="50"/>
                  </a:lnTo>
                  <a:lnTo>
                    <a:pt x="26" y="52"/>
                  </a:lnTo>
                  <a:lnTo>
                    <a:pt x="26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6" name="Freeform 84">
              <a:extLst>
                <a:ext uri="{FF2B5EF4-FFF2-40B4-BE49-F238E27FC236}">
                  <a16:creationId xmlns:a16="http://schemas.microsoft.com/office/drawing/2014/main" id="{2B86EB0F-AB38-4075-9DC8-FCF458FF1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388" y="3751263"/>
              <a:ext cx="273050" cy="123825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6" y="28"/>
                </a:cxn>
                <a:cxn ang="0">
                  <a:pos x="43" y="35"/>
                </a:cxn>
                <a:cxn ang="0">
                  <a:pos x="82" y="47"/>
                </a:cxn>
                <a:cxn ang="0">
                  <a:pos x="119" y="61"/>
                </a:cxn>
                <a:cxn ang="0">
                  <a:pos x="154" y="78"/>
                </a:cxn>
                <a:cxn ang="0">
                  <a:pos x="154" y="78"/>
                </a:cxn>
                <a:cxn ang="0">
                  <a:pos x="157" y="71"/>
                </a:cxn>
                <a:cxn ang="0">
                  <a:pos x="161" y="63"/>
                </a:cxn>
                <a:cxn ang="0">
                  <a:pos x="165" y="56"/>
                </a:cxn>
                <a:cxn ang="0">
                  <a:pos x="172" y="50"/>
                </a:cxn>
                <a:cxn ang="0">
                  <a:pos x="172" y="50"/>
                </a:cxn>
                <a:cxn ang="0">
                  <a:pos x="130" y="32"/>
                </a:cxn>
                <a:cxn ang="0">
                  <a:pos x="87" y="17"/>
                </a:cxn>
                <a:cxn ang="0">
                  <a:pos x="43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3"/>
                </a:cxn>
                <a:cxn ang="0">
                  <a:pos x="6" y="26"/>
                </a:cxn>
                <a:cxn ang="0">
                  <a:pos x="6" y="28"/>
                </a:cxn>
              </a:cxnLst>
              <a:rect l="0" t="0" r="r" b="b"/>
              <a:pathLst>
                <a:path w="172" h="78">
                  <a:moveTo>
                    <a:pt x="6" y="28"/>
                  </a:moveTo>
                  <a:lnTo>
                    <a:pt x="6" y="28"/>
                  </a:lnTo>
                  <a:lnTo>
                    <a:pt x="43" y="35"/>
                  </a:lnTo>
                  <a:lnTo>
                    <a:pt x="82" y="47"/>
                  </a:lnTo>
                  <a:lnTo>
                    <a:pt x="119" y="61"/>
                  </a:lnTo>
                  <a:lnTo>
                    <a:pt x="154" y="78"/>
                  </a:lnTo>
                  <a:lnTo>
                    <a:pt x="154" y="78"/>
                  </a:lnTo>
                  <a:lnTo>
                    <a:pt x="157" y="71"/>
                  </a:lnTo>
                  <a:lnTo>
                    <a:pt x="161" y="63"/>
                  </a:lnTo>
                  <a:lnTo>
                    <a:pt x="165" y="56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30" y="32"/>
                  </a:lnTo>
                  <a:lnTo>
                    <a:pt x="87" y="17"/>
                  </a:lnTo>
                  <a:lnTo>
                    <a:pt x="43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6" y="26"/>
                  </a:lnTo>
                  <a:lnTo>
                    <a:pt x="6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7" name="Freeform 85">
              <a:extLst>
                <a:ext uri="{FF2B5EF4-FFF2-40B4-BE49-F238E27FC236}">
                  <a16:creationId xmlns:a16="http://schemas.microsoft.com/office/drawing/2014/main" id="{8EFCB408-6950-43BA-8B17-9C8967BF7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3940175"/>
              <a:ext cx="125412" cy="1841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51" y="86"/>
                </a:cxn>
                <a:cxn ang="0">
                  <a:pos x="68" y="116"/>
                </a:cxn>
                <a:cxn ang="0">
                  <a:pos x="79" y="116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7" y="0"/>
                </a:cxn>
              </a:cxnLst>
              <a:rect l="0" t="0" r="r" b="b"/>
              <a:pathLst>
                <a:path w="79" h="116">
                  <a:moveTo>
                    <a:pt x="7" y="0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51" y="86"/>
                  </a:lnTo>
                  <a:lnTo>
                    <a:pt x="68" y="116"/>
                  </a:lnTo>
                  <a:lnTo>
                    <a:pt x="79" y="116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8" name="Freeform 86">
              <a:extLst>
                <a:ext uri="{FF2B5EF4-FFF2-40B4-BE49-F238E27FC236}">
                  <a16:creationId xmlns:a16="http://schemas.microsoft.com/office/drawing/2014/main" id="{0BAA914C-A6CF-44DE-9EC9-82F86CD99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3833813"/>
              <a:ext cx="101600" cy="106363"/>
            </a:xfrm>
            <a:custGeom>
              <a:avLst/>
              <a:gdLst/>
              <a:ahLst/>
              <a:cxnLst>
                <a:cxn ang="0">
                  <a:pos x="31" y="67"/>
                </a:cxn>
                <a:cxn ang="0">
                  <a:pos x="31" y="67"/>
                </a:cxn>
                <a:cxn ang="0">
                  <a:pos x="39" y="65"/>
                </a:cxn>
                <a:cxn ang="0">
                  <a:pos x="44" y="63"/>
                </a:cxn>
                <a:cxn ang="0">
                  <a:pos x="50" y="61"/>
                </a:cxn>
                <a:cxn ang="0">
                  <a:pos x="55" y="57"/>
                </a:cxn>
                <a:cxn ang="0">
                  <a:pos x="59" y="52"/>
                </a:cxn>
                <a:cxn ang="0">
                  <a:pos x="63" y="46"/>
                </a:cxn>
                <a:cxn ang="0">
                  <a:pos x="64" y="41"/>
                </a:cxn>
                <a:cxn ang="0">
                  <a:pos x="64" y="33"/>
                </a:cxn>
                <a:cxn ang="0">
                  <a:pos x="64" y="33"/>
                </a:cxn>
                <a:cxn ang="0">
                  <a:pos x="64" y="28"/>
                </a:cxn>
                <a:cxn ang="0">
                  <a:pos x="63" y="20"/>
                </a:cxn>
                <a:cxn ang="0">
                  <a:pos x="59" y="15"/>
                </a:cxn>
                <a:cxn ang="0">
                  <a:pos x="55" y="11"/>
                </a:cxn>
                <a:cxn ang="0">
                  <a:pos x="50" y="6"/>
                </a:cxn>
                <a:cxn ang="0">
                  <a:pos x="44" y="4"/>
                </a:cxn>
                <a:cxn ang="0">
                  <a:pos x="39" y="2"/>
                </a:cxn>
                <a:cxn ang="0">
                  <a:pos x="31" y="0"/>
                </a:cxn>
                <a:cxn ang="0">
                  <a:pos x="31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3" y="6"/>
                </a:cxn>
                <a:cxn ang="0">
                  <a:pos x="9" y="11"/>
                </a:cxn>
                <a:cxn ang="0">
                  <a:pos x="5" y="15"/>
                </a:cxn>
                <a:cxn ang="0">
                  <a:pos x="2" y="20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41"/>
                </a:cxn>
                <a:cxn ang="0">
                  <a:pos x="2" y="46"/>
                </a:cxn>
                <a:cxn ang="0">
                  <a:pos x="5" y="52"/>
                </a:cxn>
                <a:cxn ang="0">
                  <a:pos x="9" y="57"/>
                </a:cxn>
                <a:cxn ang="0">
                  <a:pos x="13" y="61"/>
                </a:cxn>
                <a:cxn ang="0">
                  <a:pos x="18" y="63"/>
                </a:cxn>
                <a:cxn ang="0">
                  <a:pos x="26" y="65"/>
                </a:cxn>
                <a:cxn ang="0">
                  <a:pos x="31" y="67"/>
                </a:cxn>
                <a:cxn ang="0">
                  <a:pos x="31" y="67"/>
                </a:cxn>
                <a:cxn ang="0">
                  <a:pos x="31" y="11"/>
                </a:cxn>
                <a:cxn ang="0">
                  <a:pos x="31" y="11"/>
                </a:cxn>
                <a:cxn ang="0">
                  <a:pos x="40" y="13"/>
                </a:cxn>
                <a:cxn ang="0">
                  <a:pos x="48" y="19"/>
                </a:cxn>
                <a:cxn ang="0">
                  <a:pos x="52" y="24"/>
                </a:cxn>
                <a:cxn ang="0">
                  <a:pos x="53" y="33"/>
                </a:cxn>
                <a:cxn ang="0">
                  <a:pos x="53" y="33"/>
                </a:cxn>
                <a:cxn ang="0">
                  <a:pos x="52" y="43"/>
                </a:cxn>
                <a:cxn ang="0">
                  <a:pos x="48" y="50"/>
                </a:cxn>
                <a:cxn ang="0">
                  <a:pos x="40" y="54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24" y="54"/>
                </a:cxn>
                <a:cxn ang="0">
                  <a:pos x="16" y="50"/>
                </a:cxn>
                <a:cxn ang="0">
                  <a:pos x="11" y="43"/>
                </a:cxn>
                <a:cxn ang="0">
                  <a:pos x="9" y="33"/>
                </a:cxn>
                <a:cxn ang="0">
                  <a:pos x="9" y="33"/>
                </a:cxn>
                <a:cxn ang="0">
                  <a:pos x="11" y="24"/>
                </a:cxn>
                <a:cxn ang="0">
                  <a:pos x="16" y="19"/>
                </a:cxn>
                <a:cxn ang="0">
                  <a:pos x="24" y="13"/>
                </a:cxn>
                <a:cxn ang="0">
                  <a:pos x="31" y="11"/>
                </a:cxn>
                <a:cxn ang="0">
                  <a:pos x="31" y="11"/>
                </a:cxn>
              </a:cxnLst>
              <a:rect l="0" t="0" r="r" b="b"/>
              <a:pathLst>
                <a:path w="64" h="67">
                  <a:moveTo>
                    <a:pt x="31" y="67"/>
                  </a:moveTo>
                  <a:lnTo>
                    <a:pt x="31" y="67"/>
                  </a:lnTo>
                  <a:lnTo>
                    <a:pt x="39" y="65"/>
                  </a:lnTo>
                  <a:lnTo>
                    <a:pt x="44" y="63"/>
                  </a:lnTo>
                  <a:lnTo>
                    <a:pt x="50" y="61"/>
                  </a:lnTo>
                  <a:lnTo>
                    <a:pt x="55" y="57"/>
                  </a:lnTo>
                  <a:lnTo>
                    <a:pt x="59" y="52"/>
                  </a:lnTo>
                  <a:lnTo>
                    <a:pt x="63" y="46"/>
                  </a:lnTo>
                  <a:lnTo>
                    <a:pt x="64" y="41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28"/>
                  </a:lnTo>
                  <a:lnTo>
                    <a:pt x="63" y="20"/>
                  </a:lnTo>
                  <a:lnTo>
                    <a:pt x="59" y="15"/>
                  </a:lnTo>
                  <a:lnTo>
                    <a:pt x="55" y="11"/>
                  </a:lnTo>
                  <a:lnTo>
                    <a:pt x="50" y="6"/>
                  </a:lnTo>
                  <a:lnTo>
                    <a:pt x="44" y="4"/>
                  </a:lnTo>
                  <a:lnTo>
                    <a:pt x="39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3" y="6"/>
                  </a:lnTo>
                  <a:lnTo>
                    <a:pt x="9" y="11"/>
                  </a:lnTo>
                  <a:lnTo>
                    <a:pt x="5" y="15"/>
                  </a:lnTo>
                  <a:lnTo>
                    <a:pt x="2" y="20"/>
                  </a:lnTo>
                  <a:lnTo>
                    <a:pt x="0" y="28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2" y="46"/>
                  </a:lnTo>
                  <a:lnTo>
                    <a:pt x="5" y="52"/>
                  </a:lnTo>
                  <a:lnTo>
                    <a:pt x="9" y="57"/>
                  </a:lnTo>
                  <a:lnTo>
                    <a:pt x="13" y="61"/>
                  </a:lnTo>
                  <a:lnTo>
                    <a:pt x="18" y="63"/>
                  </a:lnTo>
                  <a:lnTo>
                    <a:pt x="26" y="65"/>
                  </a:lnTo>
                  <a:lnTo>
                    <a:pt x="31" y="67"/>
                  </a:lnTo>
                  <a:lnTo>
                    <a:pt x="31" y="67"/>
                  </a:lnTo>
                  <a:close/>
                  <a:moveTo>
                    <a:pt x="31" y="11"/>
                  </a:moveTo>
                  <a:lnTo>
                    <a:pt x="31" y="11"/>
                  </a:lnTo>
                  <a:lnTo>
                    <a:pt x="40" y="13"/>
                  </a:lnTo>
                  <a:lnTo>
                    <a:pt x="48" y="19"/>
                  </a:lnTo>
                  <a:lnTo>
                    <a:pt x="52" y="24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43"/>
                  </a:lnTo>
                  <a:lnTo>
                    <a:pt x="48" y="50"/>
                  </a:lnTo>
                  <a:lnTo>
                    <a:pt x="40" y="54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24" y="54"/>
                  </a:lnTo>
                  <a:lnTo>
                    <a:pt x="16" y="50"/>
                  </a:lnTo>
                  <a:lnTo>
                    <a:pt x="11" y="4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1" y="24"/>
                  </a:lnTo>
                  <a:lnTo>
                    <a:pt x="16" y="19"/>
                  </a:lnTo>
                  <a:lnTo>
                    <a:pt x="24" y="13"/>
                  </a:lnTo>
                  <a:lnTo>
                    <a:pt x="31" y="11"/>
                  </a:lnTo>
                  <a:lnTo>
                    <a:pt x="31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9" name="Freeform 87">
              <a:extLst>
                <a:ext uri="{FF2B5EF4-FFF2-40B4-BE49-F238E27FC236}">
                  <a16:creationId xmlns:a16="http://schemas.microsoft.com/office/drawing/2014/main" id="{0B2D8A5B-A6D5-424B-85CA-A84226AC0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138" y="3860800"/>
              <a:ext cx="52387" cy="52388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29" y="29"/>
                </a:cxn>
                <a:cxn ang="0">
                  <a:pos x="33" y="24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11"/>
                </a:cxn>
                <a:cxn ang="0">
                  <a:pos x="29" y="5"/>
                </a:cxn>
                <a:cxn ang="0">
                  <a:pos x="24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5" y="5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3"/>
                </a:cxn>
                <a:cxn ang="0">
                  <a:pos x="16" y="33"/>
                </a:cxn>
                <a:cxn ang="0">
                  <a:pos x="16" y="3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lnTo>
                    <a:pt x="16" y="33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6" y="33"/>
                  </a:lnTo>
                  <a:lnTo>
                    <a:pt x="16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0" name="Freeform 88">
              <a:extLst>
                <a:ext uri="{FF2B5EF4-FFF2-40B4-BE49-F238E27FC236}">
                  <a16:creationId xmlns:a16="http://schemas.microsoft.com/office/drawing/2014/main" id="{6F61F8A8-8C6C-47C6-A336-3115D579B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4179888"/>
              <a:ext cx="366712" cy="182563"/>
            </a:xfrm>
            <a:custGeom>
              <a:avLst/>
              <a:gdLst/>
              <a:ahLst/>
              <a:cxnLst>
                <a:cxn ang="0">
                  <a:pos x="114" y="115"/>
                </a:cxn>
                <a:cxn ang="0">
                  <a:pos x="114" y="115"/>
                </a:cxn>
                <a:cxn ang="0">
                  <a:pos x="127" y="115"/>
                </a:cxn>
                <a:cxn ang="0">
                  <a:pos x="138" y="113"/>
                </a:cxn>
                <a:cxn ang="0">
                  <a:pos x="149" y="109"/>
                </a:cxn>
                <a:cxn ang="0">
                  <a:pos x="160" y="106"/>
                </a:cxn>
                <a:cxn ang="0">
                  <a:pos x="179" y="96"/>
                </a:cxn>
                <a:cxn ang="0">
                  <a:pos x="197" y="82"/>
                </a:cxn>
                <a:cxn ang="0">
                  <a:pos x="210" y="65"/>
                </a:cxn>
                <a:cxn ang="0">
                  <a:pos x="221" y="45"/>
                </a:cxn>
                <a:cxn ang="0">
                  <a:pos x="225" y="33"/>
                </a:cxn>
                <a:cxn ang="0">
                  <a:pos x="229" y="22"/>
                </a:cxn>
                <a:cxn ang="0">
                  <a:pos x="231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2"/>
                </a:cxn>
                <a:cxn ang="0">
                  <a:pos x="5" y="33"/>
                </a:cxn>
                <a:cxn ang="0">
                  <a:pos x="9" y="45"/>
                </a:cxn>
                <a:cxn ang="0">
                  <a:pos x="20" y="65"/>
                </a:cxn>
                <a:cxn ang="0">
                  <a:pos x="33" y="82"/>
                </a:cxn>
                <a:cxn ang="0">
                  <a:pos x="50" y="96"/>
                </a:cxn>
                <a:cxn ang="0">
                  <a:pos x="70" y="106"/>
                </a:cxn>
                <a:cxn ang="0">
                  <a:pos x="81" y="109"/>
                </a:cxn>
                <a:cxn ang="0">
                  <a:pos x="92" y="113"/>
                </a:cxn>
                <a:cxn ang="0">
                  <a:pos x="103" y="115"/>
                </a:cxn>
                <a:cxn ang="0">
                  <a:pos x="114" y="115"/>
                </a:cxn>
                <a:cxn ang="0">
                  <a:pos x="114" y="115"/>
                </a:cxn>
              </a:cxnLst>
              <a:rect l="0" t="0" r="r" b="b"/>
              <a:pathLst>
                <a:path w="231" h="115">
                  <a:moveTo>
                    <a:pt x="114" y="115"/>
                  </a:moveTo>
                  <a:lnTo>
                    <a:pt x="114" y="115"/>
                  </a:lnTo>
                  <a:lnTo>
                    <a:pt x="127" y="115"/>
                  </a:lnTo>
                  <a:lnTo>
                    <a:pt x="138" y="113"/>
                  </a:lnTo>
                  <a:lnTo>
                    <a:pt x="149" y="109"/>
                  </a:lnTo>
                  <a:lnTo>
                    <a:pt x="160" y="106"/>
                  </a:lnTo>
                  <a:lnTo>
                    <a:pt x="179" y="96"/>
                  </a:lnTo>
                  <a:lnTo>
                    <a:pt x="197" y="82"/>
                  </a:lnTo>
                  <a:lnTo>
                    <a:pt x="210" y="65"/>
                  </a:lnTo>
                  <a:lnTo>
                    <a:pt x="221" y="45"/>
                  </a:lnTo>
                  <a:lnTo>
                    <a:pt x="225" y="33"/>
                  </a:lnTo>
                  <a:lnTo>
                    <a:pt x="229" y="22"/>
                  </a:lnTo>
                  <a:lnTo>
                    <a:pt x="231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2"/>
                  </a:lnTo>
                  <a:lnTo>
                    <a:pt x="5" y="33"/>
                  </a:lnTo>
                  <a:lnTo>
                    <a:pt x="9" y="45"/>
                  </a:lnTo>
                  <a:lnTo>
                    <a:pt x="20" y="65"/>
                  </a:lnTo>
                  <a:lnTo>
                    <a:pt x="33" y="82"/>
                  </a:lnTo>
                  <a:lnTo>
                    <a:pt x="50" y="96"/>
                  </a:lnTo>
                  <a:lnTo>
                    <a:pt x="70" y="106"/>
                  </a:lnTo>
                  <a:lnTo>
                    <a:pt x="81" y="109"/>
                  </a:lnTo>
                  <a:lnTo>
                    <a:pt x="92" y="113"/>
                  </a:lnTo>
                  <a:lnTo>
                    <a:pt x="103" y="115"/>
                  </a:lnTo>
                  <a:lnTo>
                    <a:pt x="114" y="115"/>
                  </a:lnTo>
                  <a:lnTo>
                    <a:pt x="114" y="1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1" name="Freeform 89">
              <a:extLst>
                <a:ext uri="{FF2B5EF4-FFF2-40B4-BE49-F238E27FC236}">
                  <a16:creationId xmlns:a16="http://schemas.microsoft.com/office/drawing/2014/main" id="{3D026670-C5BE-476A-B17F-3D7223126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141788"/>
              <a:ext cx="390525" cy="30163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4" y="15"/>
                </a:cxn>
                <a:cxn ang="0">
                  <a:pos x="6" y="17"/>
                </a:cxn>
                <a:cxn ang="0">
                  <a:pos x="9" y="19"/>
                </a:cxn>
                <a:cxn ang="0">
                  <a:pos x="237" y="19"/>
                </a:cxn>
                <a:cxn ang="0">
                  <a:pos x="237" y="19"/>
                </a:cxn>
                <a:cxn ang="0">
                  <a:pos x="240" y="17"/>
                </a:cxn>
                <a:cxn ang="0">
                  <a:pos x="242" y="15"/>
                </a:cxn>
                <a:cxn ang="0">
                  <a:pos x="244" y="13"/>
                </a:cxn>
                <a:cxn ang="0">
                  <a:pos x="246" y="9"/>
                </a:cxn>
                <a:cxn ang="0">
                  <a:pos x="246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40" y="0"/>
                </a:cxn>
                <a:cxn ang="0">
                  <a:pos x="237" y="0"/>
                </a:cxn>
                <a:cxn ang="0">
                  <a:pos x="237" y="0"/>
                </a:cxn>
              </a:cxnLst>
              <a:rect l="0" t="0" r="r" b="b"/>
              <a:pathLst>
                <a:path w="246" h="19">
                  <a:moveTo>
                    <a:pt x="237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9" y="19"/>
                  </a:lnTo>
                  <a:lnTo>
                    <a:pt x="237" y="19"/>
                  </a:lnTo>
                  <a:lnTo>
                    <a:pt x="237" y="19"/>
                  </a:lnTo>
                  <a:lnTo>
                    <a:pt x="240" y="17"/>
                  </a:lnTo>
                  <a:lnTo>
                    <a:pt x="242" y="15"/>
                  </a:lnTo>
                  <a:lnTo>
                    <a:pt x="244" y="13"/>
                  </a:lnTo>
                  <a:lnTo>
                    <a:pt x="246" y="9"/>
                  </a:lnTo>
                  <a:lnTo>
                    <a:pt x="246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40" y="0"/>
                  </a:lnTo>
                  <a:lnTo>
                    <a:pt x="237" y="0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2" name="Freeform 90">
              <a:extLst>
                <a:ext uri="{FF2B5EF4-FFF2-40B4-BE49-F238E27FC236}">
                  <a16:creationId xmlns:a16="http://schemas.microsoft.com/office/drawing/2014/main" id="{326AFB8E-033C-40A4-8588-73399B1D1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4464050"/>
              <a:ext cx="371475" cy="71438"/>
            </a:xfrm>
            <a:custGeom>
              <a:avLst/>
              <a:gdLst/>
              <a:ahLst/>
              <a:cxnLst>
                <a:cxn ang="0">
                  <a:pos x="205" y="0"/>
                </a:cxn>
                <a:cxn ang="0">
                  <a:pos x="29" y="0"/>
                </a:cxn>
                <a:cxn ang="0">
                  <a:pos x="29" y="0"/>
                </a:cxn>
                <a:cxn ang="0">
                  <a:pos x="24" y="0"/>
                </a:cxn>
                <a:cxn ang="0">
                  <a:pos x="18" y="2"/>
                </a:cxn>
                <a:cxn ang="0">
                  <a:pos x="9" y="8"/>
                </a:cxn>
                <a:cxn ang="0">
                  <a:pos x="2" y="17"/>
                </a:cxn>
                <a:cxn ang="0">
                  <a:pos x="0" y="23"/>
                </a:cxn>
                <a:cxn ang="0">
                  <a:pos x="0" y="28"/>
                </a:cxn>
                <a:cxn ang="0">
                  <a:pos x="0" y="45"/>
                </a:cxn>
                <a:cxn ang="0">
                  <a:pos x="234" y="45"/>
                </a:cxn>
                <a:cxn ang="0">
                  <a:pos x="234" y="28"/>
                </a:cxn>
                <a:cxn ang="0">
                  <a:pos x="234" y="28"/>
                </a:cxn>
                <a:cxn ang="0">
                  <a:pos x="234" y="23"/>
                </a:cxn>
                <a:cxn ang="0">
                  <a:pos x="233" y="17"/>
                </a:cxn>
                <a:cxn ang="0">
                  <a:pos x="225" y="8"/>
                </a:cxn>
                <a:cxn ang="0">
                  <a:pos x="216" y="2"/>
                </a:cxn>
                <a:cxn ang="0">
                  <a:pos x="210" y="0"/>
                </a:cxn>
                <a:cxn ang="0">
                  <a:pos x="205" y="0"/>
                </a:cxn>
                <a:cxn ang="0">
                  <a:pos x="205" y="0"/>
                </a:cxn>
              </a:cxnLst>
              <a:rect l="0" t="0" r="r" b="b"/>
              <a:pathLst>
                <a:path w="234" h="45">
                  <a:moveTo>
                    <a:pt x="205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9" y="8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45"/>
                  </a:lnTo>
                  <a:lnTo>
                    <a:pt x="234" y="45"/>
                  </a:lnTo>
                  <a:lnTo>
                    <a:pt x="234" y="28"/>
                  </a:lnTo>
                  <a:lnTo>
                    <a:pt x="234" y="28"/>
                  </a:lnTo>
                  <a:lnTo>
                    <a:pt x="234" y="23"/>
                  </a:lnTo>
                  <a:lnTo>
                    <a:pt x="233" y="17"/>
                  </a:lnTo>
                  <a:lnTo>
                    <a:pt x="225" y="8"/>
                  </a:lnTo>
                  <a:lnTo>
                    <a:pt x="216" y="2"/>
                  </a:lnTo>
                  <a:lnTo>
                    <a:pt x="210" y="0"/>
                  </a:lnTo>
                  <a:lnTo>
                    <a:pt x="205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3" name="Freeform 91">
              <a:extLst>
                <a:ext uri="{FF2B5EF4-FFF2-40B4-BE49-F238E27FC236}">
                  <a16:creationId xmlns:a16="http://schemas.microsoft.com/office/drawing/2014/main" id="{20B4AA76-439F-4E69-B637-0B4DAC89F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13" y="4324350"/>
              <a:ext cx="254000" cy="128588"/>
            </a:xfrm>
            <a:custGeom>
              <a:avLst/>
              <a:gdLst/>
              <a:ahLst/>
              <a:cxnLst>
                <a:cxn ang="0">
                  <a:pos x="160" y="81"/>
                </a:cxn>
                <a:cxn ang="0">
                  <a:pos x="160" y="81"/>
                </a:cxn>
                <a:cxn ang="0">
                  <a:pos x="159" y="64"/>
                </a:cxn>
                <a:cxn ang="0">
                  <a:pos x="155" y="50"/>
                </a:cxn>
                <a:cxn ang="0">
                  <a:pos x="148" y="35"/>
                </a:cxn>
                <a:cxn ang="0">
                  <a:pos x="136" y="24"/>
                </a:cxn>
                <a:cxn ang="0">
                  <a:pos x="125" y="15"/>
                </a:cxn>
                <a:cxn ang="0">
                  <a:pos x="112" y="7"/>
                </a:cxn>
                <a:cxn ang="0">
                  <a:pos x="96" y="2"/>
                </a:cxn>
                <a:cxn ang="0">
                  <a:pos x="81" y="0"/>
                </a:cxn>
                <a:cxn ang="0">
                  <a:pos x="81" y="0"/>
                </a:cxn>
                <a:cxn ang="0">
                  <a:pos x="64" y="2"/>
                </a:cxn>
                <a:cxn ang="0">
                  <a:pos x="50" y="7"/>
                </a:cxn>
                <a:cxn ang="0">
                  <a:pos x="35" y="15"/>
                </a:cxn>
                <a:cxn ang="0">
                  <a:pos x="24" y="24"/>
                </a:cxn>
                <a:cxn ang="0">
                  <a:pos x="13" y="35"/>
                </a:cxn>
                <a:cxn ang="0">
                  <a:pos x="5" y="50"/>
                </a:cxn>
                <a:cxn ang="0">
                  <a:pos x="2" y="64"/>
                </a:cxn>
                <a:cxn ang="0">
                  <a:pos x="0" y="81"/>
                </a:cxn>
                <a:cxn ang="0">
                  <a:pos x="160" y="81"/>
                </a:cxn>
              </a:cxnLst>
              <a:rect l="0" t="0" r="r" b="b"/>
              <a:pathLst>
                <a:path w="160" h="81">
                  <a:moveTo>
                    <a:pt x="160" y="81"/>
                  </a:moveTo>
                  <a:lnTo>
                    <a:pt x="160" y="81"/>
                  </a:lnTo>
                  <a:lnTo>
                    <a:pt x="159" y="64"/>
                  </a:lnTo>
                  <a:lnTo>
                    <a:pt x="155" y="50"/>
                  </a:lnTo>
                  <a:lnTo>
                    <a:pt x="148" y="35"/>
                  </a:lnTo>
                  <a:lnTo>
                    <a:pt x="136" y="24"/>
                  </a:lnTo>
                  <a:lnTo>
                    <a:pt x="125" y="15"/>
                  </a:lnTo>
                  <a:lnTo>
                    <a:pt x="112" y="7"/>
                  </a:lnTo>
                  <a:lnTo>
                    <a:pt x="96" y="2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64" y="2"/>
                  </a:lnTo>
                  <a:lnTo>
                    <a:pt x="50" y="7"/>
                  </a:lnTo>
                  <a:lnTo>
                    <a:pt x="35" y="15"/>
                  </a:lnTo>
                  <a:lnTo>
                    <a:pt x="24" y="24"/>
                  </a:lnTo>
                  <a:lnTo>
                    <a:pt x="13" y="35"/>
                  </a:lnTo>
                  <a:lnTo>
                    <a:pt x="5" y="50"/>
                  </a:lnTo>
                  <a:lnTo>
                    <a:pt x="2" y="64"/>
                  </a:lnTo>
                  <a:lnTo>
                    <a:pt x="0" y="81"/>
                  </a:lnTo>
                  <a:lnTo>
                    <a:pt x="160" y="8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4" name="Freeform 92">
              <a:extLst>
                <a:ext uri="{FF2B5EF4-FFF2-40B4-BE49-F238E27FC236}">
                  <a16:creationId xmlns:a16="http://schemas.microsoft.com/office/drawing/2014/main" id="{F61B2B42-B172-46DF-8229-CD5842009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3751263"/>
              <a:ext cx="260350" cy="117475"/>
            </a:xfrm>
            <a:custGeom>
              <a:avLst/>
              <a:gdLst/>
              <a:ahLst/>
              <a:cxnLst>
                <a:cxn ang="0">
                  <a:pos x="22" y="74"/>
                </a:cxn>
                <a:cxn ang="0">
                  <a:pos x="22" y="74"/>
                </a:cxn>
                <a:cxn ang="0">
                  <a:pos x="51" y="61"/>
                </a:cxn>
                <a:cxn ang="0">
                  <a:pos x="81" y="48"/>
                </a:cxn>
                <a:cxn ang="0">
                  <a:pos x="81" y="48"/>
                </a:cxn>
                <a:cxn ang="0">
                  <a:pos x="94" y="45"/>
                </a:cxn>
                <a:cxn ang="0">
                  <a:pos x="94" y="45"/>
                </a:cxn>
                <a:cxn ang="0">
                  <a:pos x="101" y="43"/>
                </a:cxn>
                <a:cxn ang="0">
                  <a:pos x="101" y="43"/>
                </a:cxn>
                <a:cxn ang="0">
                  <a:pos x="112" y="39"/>
                </a:cxn>
                <a:cxn ang="0">
                  <a:pos x="112" y="39"/>
                </a:cxn>
                <a:cxn ang="0">
                  <a:pos x="120" y="37"/>
                </a:cxn>
                <a:cxn ang="0">
                  <a:pos x="120" y="37"/>
                </a:cxn>
                <a:cxn ang="0">
                  <a:pos x="133" y="34"/>
                </a:cxn>
                <a:cxn ang="0">
                  <a:pos x="133" y="34"/>
                </a:cxn>
                <a:cxn ang="0">
                  <a:pos x="138" y="34"/>
                </a:cxn>
                <a:cxn ang="0">
                  <a:pos x="138" y="34"/>
                </a:cxn>
                <a:cxn ang="0">
                  <a:pos x="159" y="30"/>
                </a:cxn>
                <a:cxn ang="0">
                  <a:pos x="159" y="30"/>
                </a:cxn>
                <a:cxn ang="0">
                  <a:pos x="159" y="26"/>
                </a:cxn>
                <a:cxn ang="0">
                  <a:pos x="159" y="26"/>
                </a:cxn>
                <a:cxn ang="0">
                  <a:pos x="159" y="13"/>
                </a:cxn>
                <a:cxn ang="0">
                  <a:pos x="164" y="0"/>
                </a:cxn>
                <a:cxn ang="0">
                  <a:pos x="164" y="0"/>
                </a:cxn>
                <a:cxn ang="0">
                  <a:pos x="144" y="2"/>
                </a:cxn>
                <a:cxn ang="0">
                  <a:pos x="144" y="2"/>
                </a:cxn>
                <a:cxn ang="0">
                  <a:pos x="138" y="4"/>
                </a:cxn>
                <a:cxn ang="0">
                  <a:pos x="138" y="4"/>
                </a:cxn>
                <a:cxn ang="0">
                  <a:pos x="125" y="6"/>
                </a:cxn>
                <a:cxn ang="0">
                  <a:pos x="125" y="6"/>
                </a:cxn>
                <a:cxn ang="0">
                  <a:pos x="118" y="8"/>
                </a:cxn>
                <a:cxn ang="0">
                  <a:pos x="118" y="8"/>
                </a:cxn>
                <a:cxn ang="0">
                  <a:pos x="105" y="11"/>
                </a:cxn>
                <a:cxn ang="0">
                  <a:pos x="105" y="11"/>
                </a:cxn>
                <a:cxn ang="0">
                  <a:pos x="98" y="13"/>
                </a:cxn>
                <a:cxn ang="0">
                  <a:pos x="98" y="13"/>
                </a:cxn>
                <a:cxn ang="0">
                  <a:pos x="85" y="17"/>
                </a:cxn>
                <a:cxn ang="0">
                  <a:pos x="85" y="17"/>
                </a:cxn>
                <a:cxn ang="0">
                  <a:pos x="79" y="19"/>
                </a:cxn>
                <a:cxn ang="0">
                  <a:pos x="79" y="19"/>
                </a:cxn>
                <a:cxn ang="0">
                  <a:pos x="61" y="24"/>
                </a:cxn>
                <a:cxn ang="0">
                  <a:pos x="61" y="24"/>
                </a:cxn>
                <a:cxn ang="0">
                  <a:pos x="55" y="26"/>
                </a:cxn>
                <a:cxn ang="0">
                  <a:pos x="55" y="26"/>
                </a:cxn>
                <a:cxn ang="0">
                  <a:pos x="42" y="32"/>
                </a:cxn>
                <a:cxn ang="0">
                  <a:pos x="42" y="32"/>
                </a:cxn>
                <a:cxn ang="0">
                  <a:pos x="35" y="34"/>
                </a:cxn>
                <a:cxn ang="0">
                  <a:pos x="35" y="34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29" y="35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7" y="54"/>
                </a:cxn>
                <a:cxn ang="0">
                  <a:pos x="13" y="59"/>
                </a:cxn>
                <a:cxn ang="0">
                  <a:pos x="18" y="67"/>
                </a:cxn>
                <a:cxn ang="0">
                  <a:pos x="22" y="74"/>
                </a:cxn>
                <a:cxn ang="0">
                  <a:pos x="22" y="74"/>
                </a:cxn>
              </a:cxnLst>
              <a:rect l="0" t="0" r="r" b="b"/>
              <a:pathLst>
                <a:path w="164" h="74">
                  <a:moveTo>
                    <a:pt x="22" y="74"/>
                  </a:moveTo>
                  <a:lnTo>
                    <a:pt x="22" y="74"/>
                  </a:lnTo>
                  <a:lnTo>
                    <a:pt x="51" y="61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59" y="30"/>
                  </a:lnTo>
                  <a:lnTo>
                    <a:pt x="159" y="30"/>
                  </a:lnTo>
                  <a:lnTo>
                    <a:pt x="159" y="26"/>
                  </a:lnTo>
                  <a:lnTo>
                    <a:pt x="159" y="26"/>
                  </a:lnTo>
                  <a:lnTo>
                    <a:pt x="159" y="13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7" y="54"/>
                  </a:lnTo>
                  <a:lnTo>
                    <a:pt x="13" y="59"/>
                  </a:lnTo>
                  <a:lnTo>
                    <a:pt x="18" y="67"/>
                  </a:lnTo>
                  <a:lnTo>
                    <a:pt x="22" y="74"/>
                  </a:lnTo>
                  <a:lnTo>
                    <a:pt x="2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5" name="Freeform 93">
              <a:extLst>
                <a:ext uri="{FF2B5EF4-FFF2-40B4-BE49-F238E27FC236}">
                  <a16:creationId xmlns:a16="http://schemas.microsoft.com/office/drawing/2014/main" id="{7552EBDA-E001-453C-985D-DDA81B4A2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4183063"/>
              <a:ext cx="366712" cy="184150"/>
            </a:xfrm>
            <a:custGeom>
              <a:avLst/>
              <a:gdLst/>
              <a:ahLst/>
              <a:cxnLst>
                <a:cxn ang="0">
                  <a:pos x="114" y="116"/>
                </a:cxn>
                <a:cxn ang="0">
                  <a:pos x="114" y="116"/>
                </a:cxn>
                <a:cxn ang="0">
                  <a:pos x="125" y="115"/>
                </a:cxn>
                <a:cxn ang="0">
                  <a:pos x="138" y="113"/>
                </a:cxn>
                <a:cxn ang="0">
                  <a:pos x="149" y="111"/>
                </a:cxn>
                <a:cxn ang="0">
                  <a:pos x="158" y="107"/>
                </a:cxn>
                <a:cxn ang="0">
                  <a:pos x="179" y="96"/>
                </a:cxn>
                <a:cxn ang="0">
                  <a:pos x="195" y="81"/>
                </a:cxn>
                <a:cxn ang="0">
                  <a:pos x="210" y="65"/>
                </a:cxn>
                <a:cxn ang="0">
                  <a:pos x="221" y="44"/>
                </a:cxn>
                <a:cxn ang="0">
                  <a:pos x="225" y="35"/>
                </a:cxn>
                <a:cxn ang="0">
                  <a:pos x="227" y="24"/>
                </a:cxn>
                <a:cxn ang="0">
                  <a:pos x="229" y="11"/>
                </a:cxn>
                <a:cxn ang="0">
                  <a:pos x="23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24"/>
                </a:cxn>
                <a:cxn ang="0">
                  <a:pos x="3" y="35"/>
                </a:cxn>
                <a:cxn ang="0">
                  <a:pos x="7" y="44"/>
                </a:cxn>
                <a:cxn ang="0">
                  <a:pos x="18" y="65"/>
                </a:cxn>
                <a:cxn ang="0">
                  <a:pos x="33" y="81"/>
                </a:cxn>
                <a:cxn ang="0">
                  <a:pos x="49" y="96"/>
                </a:cxn>
                <a:cxn ang="0">
                  <a:pos x="70" y="107"/>
                </a:cxn>
                <a:cxn ang="0">
                  <a:pos x="79" y="111"/>
                </a:cxn>
                <a:cxn ang="0">
                  <a:pos x="90" y="113"/>
                </a:cxn>
                <a:cxn ang="0">
                  <a:pos x="103" y="115"/>
                </a:cxn>
                <a:cxn ang="0">
                  <a:pos x="114" y="116"/>
                </a:cxn>
                <a:cxn ang="0">
                  <a:pos x="114" y="116"/>
                </a:cxn>
              </a:cxnLst>
              <a:rect l="0" t="0" r="r" b="b"/>
              <a:pathLst>
                <a:path w="231" h="116">
                  <a:moveTo>
                    <a:pt x="114" y="116"/>
                  </a:moveTo>
                  <a:lnTo>
                    <a:pt x="114" y="116"/>
                  </a:lnTo>
                  <a:lnTo>
                    <a:pt x="125" y="115"/>
                  </a:lnTo>
                  <a:lnTo>
                    <a:pt x="138" y="113"/>
                  </a:lnTo>
                  <a:lnTo>
                    <a:pt x="149" y="111"/>
                  </a:lnTo>
                  <a:lnTo>
                    <a:pt x="158" y="107"/>
                  </a:lnTo>
                  <a:lnTo>
                    <a:pt x="179" y="96"/>
                  </a:lnTo>
                  <a:lnTo>
                    <a:pt x="195" y="81"/>
                  </a:lnTo>
                  <a:lnTo>
                    <a:pt x="210" y="65"/>
                  </a:lnTo>
                  <a:lnTo>
                    <a:pt x="221" y="44"/>
                  </a:lnTo>
                  <a:lnTo>
                    <a:pt x="225" y="35"/>
                  </a:lnTo>
                  <a:lnTo>
                    <a:pt x="227" y="24"/>
                  </a:lnTo>
                  <a:lnTo>
                    <a:pt x="229" y="11"/>
                  </a:lnTo>
                  <a:lnTo>
                    <a:pt x="23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" y="24"/>
                  </a:lnTo>
                  <a:lnTo>
                    <a:pt x="3" y="35"/>
                  </a:lnTo>
                  <a:lnTo>
                    <a:pt x="7" y="44"/>
                  </a:lnTo>
                  <a:lnTo>
                    <a:pt x="18" y="65"/>
                  </a:lnTo>
                  <a:lnTo>
                    <a:pt x="33" y="81"/>
                  </a:lnTo>
                  <a:lnTo>
                    <a:pt x="49" y="96"/>
                  </a:lnTo>
                  <a:lnTo>
                    <a:pt x="70" y="107"/>
                  </a:lnTo>
                  <a:lnTo>
                    <a:pt x="79" y="111"/>
                  </a:lnTo>
                  <a:lnTo>
                    <a:pt x="90" y="113"/>
                  </a:lnTo>
                  <a:lnTo>
                    <a:pt x="103" y="115"/>
                  </a:lnTo>
                  <a:lnTo>
                    <a:pt x="114" y="116"/>
                  </a:lnTo>
                  <a:lnTo>
                    <a:pt x="114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6" name="Freeform 94">
              <a:extLst>
                <a:ext uri="{FF2B5EF4-FFF2-40B4-BE49-F238E27FC236}">
                  <a16:creationId xmlns:a16="http://schemas.microsoft.com/office/drawing/2014/main" id="{D4F79F49-09EC-4245-B20D-F53C85E88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4144963"/>
              <a:ext cx="387350" cy="28575"/>
            </a:xfrm>
            <a:custGeom>
              <a:avLst/>
              <a:gdLst/>
              <a:ahLst/>
              <a:cxnLst>
                <a:cxn ang="0">
                  <a:pos x="235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17"/>
                </a:cxn>
                <a:cxn ang="0">
                  <a:pos x="6" y="18"/>
                </a:cxn>
                <a:cxn ang="0">
                  <a:pos x="9" y="18"/>
                </a:cxn>
                <a:cxn ang="0">
                  <a:pos x="235" y="18"/>
                </a:cxn>
                <a:cxn ang="0">
                  <a:pos x="235" y="18"/>
                </a:cxn>
                <a:cxn ang="0">
                  <a:pos x="239" y="18"/>
                </a:cxn>
                <a:cxn ang="0">
                  <a:pos x="242" y="17"/>
                </a:cxn>
                <a:cxn ang="0">
                  <a:pos x="244" y="13"/>
                </a:cxn>
                <a:cxn ang="0">
                  <a:pos x="244" y="9"/>
                </a:cxn>
                <a:cxn ang="0">
                  <a:pos x="244" y="9"/>
                </a:cxn>
                <a:cxn ang="0">
                  <a:pos x="244" y="6"/>
                </a:cxn>
                <a:cxn ang="0">
                  <a:pos x="242" y="2"/>
                </a:cxn>
                <a:cxn ang="0">
                  <a:pos x="239" y="0"/>
                </a:cxn>
                <a:cxn ang="0">
                  <a:pos x="235" y="0"/>
                </a:cxn>
                <a:cxn ang="0">
                  <a:pos x="235" y="0"/>
                </a:cxn>
              </a:cxnLst>
              <a:rect l="0" t="0" r="r" b="b"/>
              <a:pathLst>
                <a:path w="244" h="18">
                  <a:moveTo>
                    <a:pt x="235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7"/>
                  </a:lnTo>
                  <a:lnTo>
                    <a:pt x="6" y="18"/>
                  </a:lnTo>
                  <a:lnTo>
                    <a:pt x="9" y="18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9" y="18"/>
                  </a:lnTo>
                  <a:lnTo>
                    <a:pt x="242" y="17"/>
                  </a:lnTo>
                  <a:lnTo>
                    <a:pt x="244" y="13"/>
                  </a:lnTo>
                  <a:lnTo>
                    <a:pt x="244" y="9"/>
                  </a:lnTo>
                  <a:lnTo>
                    <a:pt x="244" y="9"/>
                  </a:lnTo>
                  <a:lnTo>
                    <a:pt x="244" y="6"/>
                  </a:lnTo>
                  <a:lnTo>
                    <a:pt x="242" y="2"/>
                  </a:lnTo>
                  <a:lnTo>
                    <a:pt x="239" y="0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7" name="Freeform 95">
              <a:extLst>
                <a:ext uri="{FF2B5EF4-FFF2-40B4-BE49-F238E27FC236}">
                  <a16:creationId xmlns:a16="http://schemas.microsoft.com/office/drawing/2014/main" id="{ABA26837-B1F2-4D1E-B97B-E1BDA451A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3941763"/>
              <a:ext cx="123825" cy="188913"/>
            </a:xfrm>
            <a:custGeom>
              <a:avLst/>
              <a:gdLst/>
              <a:ahLst/>
              <a:cxnLst>
                <a:cxn ang="0">
                  <a:pos x="78" y="6"/>
                </a:cxn>
                <a:cxn ang="0">
                  <a:pos x="78" y="6"/>
                </a:cxn>
                <a:cxn ang="0">
                  <a:pos x="70" y="0"/>
                </a:cxn>
                <a:cxn ang="0">
                  <a:pos x="0" y="119"/>
                </a:cxn>
                <a:cxn ang="0">
                  <a:pos x="9" y="119"/>
                </a:cxn>
                <a:cxn ang="0">
                  <a:pos x="78" y="6"/>
                </a:cxn>
              </a:cxnLst>
              <a:rect l="0" t="0" r="r" b="b"/>
              <a:pathLst>
                <a:path w="78" h="119">
                  <a:moveTo>
                    <a:pt x="78" y="6"/>
                  </a:moveTo>
                  <a:lnTo>
                    <a:pt x="78" y="6"/>
                  </a:lnTo>
                  <a:lnTo>
                    <a:pt x="70" y="0"/>
                  </a:lnTo>
                  <a:lnTo>
                    <a:pt x="0" y="119"/>
                  </a:lnTo>
                  <a:lnTo>
                    <a:pt x="9" y="119"/>
                  </a:lnTo>
                  <a:lnTo>
                    <a:pt x="7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8" name="Freeform 96">
              <a:extLst>
                <a:ext uri="{FF2B5EF4-FFF2-40B4-BE49-F238E27FC236}">
                  <a16:creationId xmlns:a16="http://schemas.microsoft.com/office/drawing/2014/main" id="{807A7269-7616-435B-A16F-3FE35C97B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4068763"/>
              <a:ext cx="238125" cy="61913"/>
            </a:xfrm>
            <a:custGeom>
              <a:avLst/>
              <a:gdLst/>
              <a:ahLst/>
              <a:cxnLst>
                <a:cxn ang="0">
                  <a:pos x="69" y="9"/>
                </a:cxn>
                <a:cxn ang="0">
                  <a:pos x="72" y="9"/>
                </a:cxn>
                <a:cxn ang="0">
                  <a:pos x="72" y="9"/>
                </a:cxn>
                <a:cxn ang="0">
                  <a:pos x="80" y="18"/>
                </a:cxn>
                <a:cxn ang="0">
                  <a:pos x="80" y="18"/>
                </a:cxn>
                <a:cxn ang="0">
                  <a:pos x="89" y="28"/>
                </a:cxn>
                <a:cxn ang="0">
                  <a:pos x="89" y="28"/>
                </a:cxn>
                <a:cxn ang="0">
                  <a:pos x="102" y="39"/>
                </a:cxn>
                <a:cxn ang="0">
                  <a:pos x="150" y="39"/>
                </a:cxn>
                <a:cxn ang="0">
                  <a:pos x="133" y="9"/>
                </a:cxn>
                <a:cxn ang="0">
                  <a:pos x="133" y="9"/>
                </a:cxn>
                <a:cxn ang="0">
                  <a:pos x="115" y="5"/>
                </a:cxn>
                <a:cxn ang="0">
                  <a:pos x="94" y="2"/>
                </a:cxn>
                <a:cxn ang="0">
                  <a:pos x="72" y="0"/>
                </a:cxn>
                <a:cxn ang="0">
                  <a:pos x="50" y="2"/>
                </a:cxn>
                <a:cxn ang="0">
                  <a:pos x="50" y="2"/>
                </a:cxn>
                <a:cxn ang="0">
                  <a:pos x="30" y="4"/>
                </a:cxn>
                <a:cxn ang="0">
                  <a:pos x="15" y="9"/>
                </a:cxn>
                <a:cxn ang="0">
                  <a:pos x="0" y="33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6" y="39"/>
                </a:cxn>
                <a:cxn ang="0">
                  <a:pos x="81" y="39"/>
                </a:cxn>
                <a:cxn ang="0">
                  <a:pos x="81" y="39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61" y="20"/>
                </a:cxn>
                <a:cxn ang="0">
                  <a:pos x="61" y="20"/>
                </a:cxn>
                <a:cxn ang="0">
                  <a:pos x="56" y="17"/>
                </a:cxn>
                <a:cxn ang="0">
                  <a:pos x="56" y="17"/>
                </a:cxn>
                <a:cxn ang="0">
                  <a:pos x="52" y="17"/>
                </a:cxn>
                <a:cxn ang="0">
                  <a:pos x="52" y="17"/>
                </a:cxn>
                <a:cxn ang="0">
                  <a:pos x="43" y="18"/>
                </a:cxn>
                <a:cxn ang="0">
                  <a:pos x="41" y="17"/>
                </a:cxn>
                <a:cxn ang="0">
                  <a:pos x="41" y="17"/>
                </a:cxn>
                <a:cxn ang="0">
                  <a:pos x="57" y="13"/>
                </a:cxn>
                <a:cxn ang="0">
                  <a:pos x="57" y="13"/>
                </a:cxn>
                <a:cxn ang="0">
                  <a:pos x="69" y="9"/>
                </a:cxn>
                <a:cxn ang="0">
                  <a:pos x="69" y="9"/>
                </a:cxn>
              </a:cxnLst>
              <a:rect l="0" t="0" r="r" b="b"/>
              <a:pathLst>
                <a:path w="150" h="39">
                  <a:moveTo>
                    <a:pt x="69" y="9"/>
                  </a:moveTo>
                  <a:lnTo>
                    <a:pt x="72" y="9"/>
                  </a:lnTo>
                  <a:lnTo>
                    <a:pt x="72" y="9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102" y="39"/>
                  </a:lnTo>
                  <a:lnTo>
                    <a:pt x="150" y="3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15" y="5"/>
                  </a:lnTo>
                  <a:lnTo>
                    <a:pt x="94" y="2"/>
                  </a:lnTo>
                  <a:lnTo>
                    <a:pt x="72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30" y="4"/>
                  </a:lnTo>
                  <a:lnTo>
                    <a:pt x="15" y="9"/>
                  </a:lnTo>
                  <a:lnTo>
                    <a:pt x="0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43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9" y="9"/>
                  </a:lnTo>
                  <a:lnTo>
                    <a:pt x="6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9" name="Freeform 97">
              <a:extLst>
                <a:ext uri="{FF2B5EF4-FFF2-40B4-BE49-F238E27FC236}">
                  <a16:creationId xmlns:a16="http://schemas.microsoft.com/office/drawing/2014/main" id="{A85D30C4-E51F-4F25-B982-32C835430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124325"/>
              <a:ext cx="6350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0" name="Freeform 98">
              <a:extLst>
                <a:ext uri="{FF2B5EF4-FFF2-40B4-BE49-F238E27FC236}">
                  <a16:creationId xmlns:a16="http://schemas.microsoft.com/office/drawing/2014/main" id="{2406ABCE-3523-4154-AB41-D93274D48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300" y="3941763"/>
              <a:ext cx="123825" cy="188913"/>
            </a:xfrm>
            <a:custGeom>
              <a:avLst/>
              <a:gdLst/>
              <a:ahLst/>
              <a:cxnLst>
                <a:cxn ang="0">
                  <a:pos x="78" y="119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6"/>
                </a:cxn>
                <a:cxn ang="0">
                  <a:pos x="69" y="119"/>
                </a:cxn>
                <a:cxn ang="0">
                  <a:pos x="78" y="119"/>
                </a:cxn>
              </a:cxnLst>
              <a:rect l="0" t="0" r="r" b="b"/>
              <a:pathLst>
                <a:path w="78" h="119">
                  <a:moveTo>
                    <a:pt x="78" y="119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0" y="6"/>
                  </a:lnTo>
                  <a:lnTo>
                    <a:pt x="69" y="119"/>
                  </a:lnTo>
                  <a:lnTo>
                    <a:pt x="78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1" name="Freeform 99">
              <a:extLst>
                <a:ext uri="{FF2B5EF4-FFF2-40B4-BE49-F238E27FC236}">
                  <a16:creationId xmlns:a16="http://schemas.microsoft.com/office/drawing/2014/main" id="{848C7DCB-DFA9-4039-AF41-42E287964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163" y="3840163"/>
              <a:ext cx="104775" cy="101600"/>
            </a:xfrm>
            <a:custGeom>
              <a:avLst/>
              <a:gdLst/>
              <a:ahLst/>
              <a:cxnLst>
                <a:cxn ang="0">
                  <a:pos x="33" y="64"/>
                </a:cxn>
                <a:cxn ang="0">
                  <a:pos x="33" y="64"/>
                </a:cxn>
                <a:cxn ang="0">
                  <a:pos x="40" y="64"/>
                </a:cxn>
                <a:cxn ang="0">
                  <a:pos x="46" y="63"/>
                </a:cxn>
                <a:cxn ang="0">
                  <a:pos x="52" y="59"/>
                </a:cxn>
                <a:cxn ang="0">
                  <a:pos x="57" y="55"/>
                </a:cxn>
                <a:cxn ang="0">
                  <a:pos x="61" y="50"/>
                </a:cxn>
                <a:cxn ang="0">
                  <a:pos x="63" y="44"/>
                </a:cxn>
                <a:cxn ang="0">
                  <a:pos x="65" y="39"/>
                </a:cxn>
                <a:cxn ang="0">
                  <a:pos x="66" y="31"/>
                </a:cxn>
                <a:cxn ang="0">
                  <a:pos x="66" y="31"/>
                </a:cxn>
                <a:cxn ang="0">
                  <a:pos x="65" y="26"/>
                </a:cxn>
                <a:cxn ang="0">
                  <a:pos x="63" y="20"/>
                </a:cxn>
                <a:cxn ang="0">
                  <a:pos x="61" y="15"/>
                </a:cxn>
                <a:cxn ang="0">
                  <a:pos x="57" y="9"/>
                </a:cxn>
                <a:cxn ang="0">
                  <a:pos x="52" y="5"/>
                </a:cxn>
                <a:cxn ang="0">
                  <a:pos x="46" y="2"/>
                </a:cxn>
                <a:cxn ang="0">
                  <a:pos x="4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5" y="5"/>
                </a:cxn>
                <a:cxn ang="0">
                  <a:pos x="11" y="9"/>
                </a:cxn>
                <a:cxn ang="0">
                  <a:pos x="5" y="15"/>
                </a:cxn>
                <a:cxn ang="0">
                  <a:pos x="4" y="20"/>
                </a:cxn>
                <a:cxn ang="0">
                  <a:pos x="2" y="26"/>
                </a:cxn>
                <a:cxn ang="0">
                  <a:pos x="0" y="31"/>
                </a:cxn>
                <a:cxn ang="0">
                  <a:pos x="0" y="31"/>
                </a:cxn>
                <a:cxn ang="0">
                  <a:pos x="2" y="39"/>
                </a:cxn>
                <a:cxn ang="0">
                  <a:pos x="4" y="44"/>
                </a:cxn>
                <a:cxn ang="0">
                  <a:pos x="5" y="50"/>
                </a:cxn>
                <a:cxn ang="0">
                  <a:pos x="11" y="55"/>
                </a:cxn>
                <a:cxn ang="0">
                  <a:pos x="15" y="59"/>
                </a:cxn>
                <a:cxn ang="0">
                  <a:pos x="20" y="63"/>
                </a:cxn>
                <a:cxn ang="0">
                  <a:pos x="28" y="64"/>
                </a:cxn>
                <a:cxn ang="0">
                  <a:pos x="33" y="64"/>
                </a:cxn>
                <a:cxn ang="0">
                  <a:pos x="33" y="64"/>
                </a:cxn>
                <a:cxn ang="0">
                  <a:pos x="33" y="9"/>
                </a:cxn>
                <a:cxn ang="0">
                  <a:pos x="33" y="9"/>
                </a:cxn>
                <a:cxn ang="0">
                  <a:pos x="42" y="11"/>
                </a:cxn>
                <a:cxn ang="0">
                  <a:pos x="50" y="16"/>
                </a:cxn>
                <a:cxn ang="0">
                  <a:pos x="53" y="24"/>
                </a:cxn>
                <a:cxn ang="0">
                  <a:pos x="55" y="31"/>
                </a:cxn>
                <a:cxn ang="0">
                  <a:pos x="55" y="31"/>
                </a:cxn>
                <a:cxn ang="0">
                  <a:pos x="53" y="40"/>
                </a:cxn>
                <a:cxn ang="0">
                  <a:pos x="50" y="48"/>
                </a:cxn>
                <a:cxn ang="0">
                  <a:pos x="42" y="53"/>
                </a:cxn>
                <a:cxn ang="0">
                  <a:pos x="33" y="53"/>
                </a:cxn>
                <a:cxn ang="0">
                  <a:pos x="33" y="53"/>
                </a:cxn>
                <a:cxn ang="0">
                  <a:pos x="24" y="53"/>
                </a:cxn>
                <a:cxn ang="0">
                  <a:pos x="18" y="48"/>
                </a:cxn>
                <a:cxn ang="0">
                  <a:pos x="13" y="40"/>
                </a:cxn>
                <a:cxn ang="0">
                  <a:pos x="11" y="31"/>
                </a:cxn>
                <a:cxn ang="0">
                  <a:pos x="11" y="31"/>
                </a:cxn>
                <a:cxn ang="0">
                  <a:pos x="13" y="24"/>
                </a:cxn>
                <a:cxn ang="0">
                  <a:pos x="18" y="16"/>
                </a:cxn>
                <a:cxn ang="0">
                  <a:pos x="24" y="11"/>
                </a:cxn>
                <a:cxn ang="0">
                  <a:pos x="33" y="9"/>
                </a:cxn>
                <a:cxn ang="0">
                  <a:pos x="33" y="9"/>
                </a:cxn>
              </a:cxnLst>
              <a:rect l="0" t="0" r="r" b="b"/>
              <a:pathLst>
                <a:path w="66" h="64">
                  <a:moveTo>
                    <a:pt x="33" y="64"/>
                  </a:moveTo>
                  <a:lnTo>
                    <a:pt x="33" y="64"/>
                  </a:lnTo>
                  <a:lnTo>
                    <a:pt x="40" y="64"/>
                  </a:lnTo>
                  <a:lnTo>
                    <a:pt x="46" y="63"/>
                  </a:lnTo>
                  <a:lnTo>
                    <a:pt x="52" y="59"/>
                  </a:lnTo>
                  <a:lnTo>
                    <a:pt x="57" y="55"/>
                  </a:lnTo>
                  <a:lnTo>
                    <a:pt x="61" y="50"/>
                  </a:lnTo>
                  <a:lnTo>
                    <a:pt x="63" y="44"/>
                  </a:lnTo>
                  <a:lnTo>
                    <a:pt x="65" y="39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5" y="26"/>
                  </a:lnTo>
                  <a:lnTo>
                    <a:pt x="63" y="20"/>
                  </a:lnTo>
                  <a:lnTo>
                    <a:pt x="61" y="15"/>
                  </a:lnTo>
                  <a:lnTo>
                    <a:pt x="57" y="9"/>
                  </a:lnTo>
                  <a:lnTo>
                    <a:pt x="52" y="5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5" y="5"/>
                  </a:lnTo>
                  <a:lnTo>
                    <a:pt x="11" y="9"/>
                  </a:lnTo>
                  <a:lnTo>
                    <a:pt x="5" y="15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9"/>
                  </a:lnTo>
                  <a:lnTo>
                    <a:pt x="4" y="44"/>
                  </a:lnTo>
                  <a:lnTo>
                    <a:pt x="5" y="50"/>
                  </a:lnTo>
                  <a:lnTo>
                    <a:pt x="11" y="55"/>
                  </a:lnTo>
                  <a:lnTo>
                    <a:pt x="15" y="59"/>
                  </a:lnTo>
                  <a:lnTo>
                    <a:pt x="20" y="63"/>
                  </a:lnTo>
                  <a:lnTo>
                    <a:pt x="28" y="64"/>
                  </a:lnTo>
                  <a:lnTo>
                    <a:pt x="33" y="64"/>
                  </a:lnTo>
                  <a:lnTo>
                    <a:pt x="33" y="64"/>
                  </a:lnTo>
                  <a:close/>
                  <a:moveTo>
                    <a:pt x="33" y="9"/>
                  </a:moveTo>
                  <a:lnTo>
                    <a:pt x="33" y="9"/>
                  </a:lnTo>
                  <a:lnTo>
                    <a:pt x="42" y="11"/>
                  </a:lnTo>
                  <a:lnTo>
                    <a:pt x="50" y="16"/>
                  </a:lnTo>
                  <a:lnTo>
                    <a:pt x="53" y="24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3" y="40"/>
                  </a:lnTo>
                  <a:lnTo>
                    <a:pt x="50" y="48"/>
                  </a:lnTo>
                  <a:lnTo>
                    <a:pt x="42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24" y="53"/>
                  </a:lnTo>
                  <a:lnTo>
                    <a:pt x="18" y="48"/>
                  </a:lnTo>
                  <a:lnTo>
                    <a:pt x="13" y="4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3" y="24"/>
                  </a:lnTo>
                  <a:lnTo>
                    <a:pt x="18" y="16"/>
                  </a:lnTo>
                  <a:lnTo>
                    <a:pt x="24" y="11"/>
                  </a:lnTo>
                  <a:lnTo>
                    <a:pt x="33" y="9"/>
                  </a:lnTo>
                  <a:lnTo>
                    <a:pt x="33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2" name="Freeform 100">
              <a:extLst>
                <a:ext uri="{FF2B5EF4-FFF2-40B4-BE49-F238E27FC236}">
                  <a16:creationId xmlns:a16="http://schemas.microsoft.com/office/drawing/2014/main" id="{8F26F651-8F74-41DB-B3D9-2A5A507EE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975" y="3863975"/>
              <a:ext cx="58737" cy="55563"/>
            </a:xfrm>
            <a:custGeom>
              <a:avLst/>
              <a:gdLst/>
              <a:ahLst/>
              <a:cxnLst>
                <a:cxn ang="0">
                  <a:pos x="18" y="35"/>
                </a:cxn>
                <a:cxn ang="0">
                  <a:pos x="18" y="35"/>
                </a:cxn>
                <a:cxn ang="0">
                  <a:pos x="25" y="35"/>
                </a:cxn>
                <a:cxn ang="0">
                  <a:pos x="31" y="29"/>
                </a:cxn>
                <a:cxn ang="0">
                  <a:pos x="35" y="24"/>
                </a:cxn>
                <a:cxn ang="0">
                  <a:pos x="37" y="16"/>
                </a:cxn>
                <a:cxn ang="0">
                  <a:pos x="37" y="16"/>
                </a:cxn>
                <a:cxn ang="0">
                  <a:pos x="35" y="11"/>
                </a:cxn>
                <a:cxn ang="0">
                  <a:pos x="31" y="3"/>
                </a:cxn>
                <a:cxn ang="0">
                  <a:pos x="25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5" y="3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5"/>
                </a:cxn>
                <a:cxn ang="0">
                  <a:pos x="18" y="35"/>
                </a:cxn>
                <a:cxn ang="0">
                  <a:pos x="18" y="35"/>
                </a:cxn>
              </a:cxnLst>
              <a:rect l="0" t="0" r="r" b="b"/>
              <a:pathLst>
                <a:path w="37" h="35">
                  <a:moveTo>
                    <a:pt x="18" y="35"/>
                  </a:moveTo>
                  <a:lnTo>
                    <a:pt x="18" y="35"/>
                  </a:lnTo>
                  <a:lnTo>
                    <a:pt x="25" y="35"/>
                  </a:lnTo>
                  <a:lnTo>
                    <a:pt x="31" y="29"/>
                  </a:lnTo>
                  <a:lnTo>
                    <a:pt x="35" y="24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1"/>
                  </a:lnTo>
                  <a:lnTo>
                    <a:pt x="31" y="3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5"/>
                  </a:lnTo>
                  <a:lnTo>
                    <a:pt x="18" y="35"/>
                  </a:lnTo>
                  <a:lnTo>
                    <a:pt x="18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Freeform 101">
              <a:extLst>
                <a:ext uri="{FF2B5EF4-FFF2-40B4-BE49-F238E27FC236}">
                  <a16:creationId xmlns:a16="http://schemas.microsoft.com/office/drawing/2014/main" id="{A8145A7C-3137-4FB0-96CD-D3E1DC882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3940175"/>
              <a:ext cx="123825" cy="184150"/>
            </a:xfrm>
            <a:custGeom>
              <a:avLst/>
              <a:gdLst/>
              <a:ahLst/>
              <a:cxnLst>
                <a:cxn ang="0">
                  <a:pos x="11" y="116"/>
                </a:cxn>
                <a:cxn ang="0">
                  <a:pos x="78" y="5"/>
                </a:cxn>
                <a:cxn ang="0">
                  <a:pos x="78" y="5"/>
                </a:cxn>
                <a:cxn ang="0">
                  <a:pos x="70" y="0"/>
                </a:cxn>
                <a:cxn ang="0">
                  <a:pos x="39" y="53"/>
                </a:cxn>
                <a:cxn ang="0">
                  <a:pos x="39" y="53"/>
                </a:cxn>
                <a:cxn ang="0">
                  <a:pos x="0" y="116"/>
                </a:cxn>
                <a:cxn ang="0">
                  <a:pos x="11" y="116"/>
                </a:cxn>
              </a:cxnLst>
              <a:rect l="0" t="0" r="r" b="b"/>
              <a:pathLst>
                <a:path w="78" h="116">
                  <a:moveTo>
                    <a:pt x="11" y="116"/>
                  </a:moveTo>
                  <a:lnTo>
                    <a:pt x="78" y="5"/>
                  </a:lnTo>
                  <a:lnTo>
                    <a:pt x="78" y="5"/>
                  </a:lnTo>
                  <a:lnTo>
                    <a:pt x="70" y="0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0" y="116"/>
                  </a:lnTo>
                  <a:lnTo>
                    <a:pt x="11" y="1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4" name="Freeform 102">
              <a:extLst>
                <a:ext uri="{FF2B5EF4-FFF2-40B4-BE49-F238E27FC236}">
                  <a16:creationId xmlns:a16="http://schemas.microsoft.com/office/drawing/2014/main" id="{4590AA8F-9DDC-472E-9714-BA5EAAE9F0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875" y="4003675"/>
              <a:ext cx="203200" cy="120650"/>
            </a:xfrm>
            <a:custGeom>
              <a:avLst/>
              <a:gdLst/>
              <a:ahLst/>
              <a:cxnLst>
                <a:cxn ang="0">
                  <a:pos x="128" y="61"/>
                </a:cxn>
                <a:cxn ang="0">
                  <a:pos x="91" y="0"/>
                </a:cxn>
                <a:cxn ang="0">
                  <a:pos x="30" y="0"/>
                </a:cxn>
                <a:cxn ang="0">
                  <a:pos x="0" y="50"/>
                </a:cxn>
                <a:cxn ang="0">
                  <a:pos x="0" y="76"/>
                </a:cxn>
                <a:cxn ang="0">
                  <a:pos x="128" y="76"/>
                </a:cxn>
                <a:cxn ang="0">
                  <a:pos x="128" y="61"/>
                </a:cxn>
                <a:cxn ang="0">
                  <a:pos x="100" y="74"/>
                </a:cxn>
                <a:cxn ang="0">
                  <a:pos x="26" y="74"/>
                </a:cxn>
                <a:cxn ang="0">
                  <a:pos x="26" y="74"/>
                </a:cxn>
                <a:cxn ang="0">
                  <a:pos x="24" y="72"/>
                </a:cxn>
                <a:cxn ang="0">
                  <a:pos x="22" y="69"/>
                </a:cxn>
                <a:cxn ang="0">
                  <a:pos x="22" y="69"/>
                </a:cxn>
                <a:cxn ang="0">
                  <a:pos x="24" y="67"/>
                </a:cxn>
                <a:cxn ang="0">
                  <a:pos x="26" y="65"/>
                </a:cxn>
                <a:cxn ang="0">
                  <a:pos x="100" y="65"/>
                </a:cxn>
                <a:cxn ang="0">
                  <a:pos x="100" y="65"/>
                </a:cxn>
                <a:cxn ang="0">
                  <a:pos x="104" y="67"/>
                </a:cxn>
                <a:cxn ang="0">
                  <a:pos x="104" y="69"/>
                </a:cxn>
                <a:cxn ang="0">
                  <a:pos x="104" y="69"/>
                </a:cxn>
                <a:cxn ang="0">
                  <a:pos x="104" y="72"/>
                </a:cxn>
                <a:cxn ang="0">
                  <a:pos x="100" y="74"/>
                </a:cxn>
                <a:cxn ang="0">
                  <a:pos x="100" y="74"/>
                </a:cxn>
                <a:cxn ang="0">
                  <a:pos x="100" y="54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24" y="52"/>
                </a:cxn>
                <a:cxn ang="0">
                  <a:pos x="22" y="50"/>
                </a:cxn>
                <a:cxn ang="0">
                  <a:pos x="22" y="50"/>
                </a:cxn>
                <a:cxn ang="0">
                  <a:pos x="24" y="48"/>
                </a:cxn>
                <a:cxn ang="0">
                  <a:pos x="26" y="46"/>
                </a:cxn>
                <a:cxn ang="0">
                  <a:pos x="100" y="46"/>
                </a:cxn>
                <a:cxn ang="0">
                  <a:pos x="100" y="46"/>
                </a:cxn>
                <a:cxn ang="0">
                  <a:pos x="104" y="48"/>
                </a:cxn>
                <a:cxn ang="0">
                  <a:pos x="104" y="50"/>
                </a:cxn>
                <a:cxn ang="0">
                  <a:pos x="104" y="50"/>
                </a:cxn>
                <a:cxn ang="0">
                  <a:pos x="104" y="52"/>
                </a:cxn>
                <a:cxn ang="0">
                  <a:pos x="100" y="54"/>
                </a:cxn>
                <a:cxn ang="0">
                  <a:pos x="100" y="54"/>
                </a:cxn>
                <a:cxn ang="0">
                  <a:pos x="100" y="35"/>
                </a:cxn>
                <a:cxn ang="0">
                  <a:pos x="74" y="35"/>
                </a:cxn>
                <a:cxn ang="0">
                  <a:pos x="26" y="35"/>
                </a:cxn>
                <a:cxn ang="0">
                  <a:pos x="26" y="35"/>
                </a:cxn>
                <a:cxn ang="0">
                  <a:pos x="24" y="34"/>
                </a:cxn>
                <a:cxn ang="0">
                  <a:pos x="22" y="32"/>
                </a:cxn>
                <a:cxn ang="0">
                  <a:pos x="22" y="32"/>
                </a:cxn>
                <a:cxn ang="0">
                  <a:pos x="24" y="28"/>
                </a:cxn>
                <a:cxn ang="0">
                  <a:pos x="26" y="28"/>
                </a:cxn>
                <a:cxn ang="0">
                  <a:pos x="44" y="28"/>
                </a:cxn>
                <a:cxn ang="0">
                  <a:pos x="100" y="28"/>
                </a:cxn>
                <a:cxn ang="0">
                  <a:pos x="100" y="28"/>
                </a:cxn>
                <a:cxn ang="0">
                  <a:pos x="104" y="28"/>
                </a:cxn>
                <a:cxn ang="0">
                  <a:pos x="104" y="32"/>
                </a:cxn>
                <a:cxn ang="0">
                  <a:pos x="104" y="32"/>
                </a:cxn>
                <a:cxn ang="0">
                  <a:pos x="104" y="34"/>
                </a:cxn>
                <a:cxn ang="0">
                  <a:pos x="100" y="35"/>
                </a:cxn>
                <a:cxn ang="0">
                  <a:pos x="100" y="35"/>
                </a:cxn>
              </a:cxnLst>
              <a:rect l="0" t="0" r="r" b="b"/>
              <a:pathLst>
                <a:path w="128" h="76">
                  <a:moveTo>
                    <a:pt x="128" y="61"/>
                  </a:moveTo>
                  <a:lnTo>
                    <a:pt x="91" y="0"/>
                  </a:lnTo>
                  <a:lnTo>
                    <a:pt x="30" y="0"/>
                  </a:lnTo>
                  <a:lnTo>
                    <a:pt x="0" y="50"/>
                  </a:lnTo>
                  <a:lnTo>
                    <a:pt x="0" y="76"/>
                  </a:lnTo>
                  <a:lnTo>
                    <a:pt x="128" y="76"/>
                  </a:lnTo>
                  <a:lnTo>
                    <a:pt x="128" y="61"/>
                  </a:lnTo>
                  <a:close/>
                  <a:moveTo>
                    <a:pt x="100" y="74"/>
                  </a:move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4" y="67"/>
                  </a:lnTo>
                  <a:lnTo>
                    <a:pt x="26" y="65"/>
                  </a:lnTo>
                  <a:lnTo>
                    <a:pt x="100" y="65"/>
                  </a:lnTo>
                  <a:lnTo>
                    <a:pt x="100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72"/>
                  </a:lnTo>
                  <a:lnTo>
                    <a:pt x="100" y="74"/>
                  </a:lnTo>
                  <a:lnTo>
                    <a:pt x="100" y="74"/>
                  </a:lnTo>
                  <a:close/>
                  <a:moveTo>
                    <a:pt x="100" y="54"/>
                  </a:moveTo>
                  <a:lnTo>
                    <a:pt x="26" y="54"/>
                  </a:lnTo>
                  <a:lnTo>
                    <a:pt x="26" y="54"/>
                  </a:lnTo>
                  <a:lnTo>
                    <a:pt x="24" y="52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6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0" y="54"/>
                  </a:lnTo>
                  <a:lnTo>
                    <a:pt x="100" y="54"/>
                  </a:lnTo>
                  <a:close/>
                  <a:moveTo>
                    <a:pt x="100" y="35"/>
                  </a:moveTo>
                  <a:lnTo>
                    <a:pt x="74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44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4"/>
                  </a:lnTo>
                  <a:lnTo>
                    <a:pt x="100" y="35"/>
                  </a:lnTo>
                  <a:lnTo>
                    <a:pt x="10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5" name="Freeform 103">
              <a:extLst>
                <a:ext uri="{FF2B5EF4-FFF2-40B4-BE49-F238E27FC236}">
                  <a16:creationId xmlns:a16="http://schemas.microsoft.com/office/drawing/2014/main" id="{4794D5A3-64C5-48D6-8923-A744B2C28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813" y="3884613"/>
              <a:ext cx="127000" cy="439738"/>
            </a:xfrm>
            <a:custGeom>
              <a:avLst/>
              <a:gdLst/>
              <a:ahLst/>
              <a:cxnLst>
                <a:cxn ang="0">
                  <a:pos x="39" y="7"/>
                </a:cxn>
                <a:cxn ang="0">
                  <a:pos x="39" y="7"/>
                </a:cxn>
                <a:cxn ang="0">
                  <a:pos x="24" y="5"/>
                </a:cxn>
                <a:cxn ang="0">
                  <a:pos x="11" y="1"/>
                </a:cxn>
                <a:cxn ang="0">
                  <a:pos x="0" y="277"/>
                </a:cxn>
                <a:cxn ang="0">
                  <a:pos x="0" y="277"/>
                </a:cxn>
                <a:cxn ang="0">
                  <a:pos x="10" y="273"/>
                </a:cxn>
                <a:cxn ang="0">
                  <a:pos x="19" y="269"/>
                </a:cxn>
                <a:cxn ang="0">
                  <a:pos x="30" y="268"/>
                </a:cxn>
                <a:cxn ang="0">
                  <a:pos x="41" y="268"/>
                </a:cxn>
                <a:cxn ang="0">
                  <a:pos x="41" y="268"/>
                </a:cxn>
                <a:cxn ang="0">
                  <a:pos x="50" y="268"/>
                </a:cxn>
                <a:cxn ang="0">
                  <a:pos x="61" y="269"/>
                </a:cxn>
                <a:cxn ang="0">
                  <a:pos x="71" y="273"/>
                </a:cxn>
                <a:cxn ang="0">
                  <a:pos x="80" y="277"/>
                </a:cxn>
                <a:cxn ang="0">
                  <a:pos x="69" y="0"/>
                </a:cxn>
                <a:cxn ang="0">
                  <a:pos x="69" y="0"/>
                </a:cxn>
                <a:cxn ang="0">
                  <a:pos x="54" y="5"/>
                </a:cxn>
                <a:cxn ang="0">
                  <a:pos x="39" y="7"/>
                </a:cxn>
                <a:cxn ang="0">
                  <a:pos x="39" y="7"/>
                </a:cxn>
              </a:cxnLst>
              <a:rect l="0" t="0" r="r" b="b"/>
              <a:pathLst>
                <a:path w="80" h="277">
                  <a:moveTo>
                    <a:pt x="39" y="7"/>
                  </a:moveTo>
                  <a:lnTo>
                    <a:pt x="39" y="7"/>
                  </a:lnTo>
                  <a:lnTo>
                    <a:pt x="24" y="5"/>
                  </a:lnTo>
                  <a:lnTo>
                    <a:pt x="11" y="1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10" y="273"/>
                  </a:lnTo>
                  <a:lnTo>
                    <a:pt x="19" y="269"/>
                  </a:lnTo>
                  <a:lnTo>
                    <a:pt x="30" y="268"/>
                  </a:lnTo>
                  <a:lnTo>
                    <a:pt x="41" y="268"/>
                  </a:lnTo>
                  <a:lnTo>
                    <a:pt x="41" y="268"/>
                  </a:lnTo>
                  <a:lnTo>
                    <a:pt x="50" y="268"/>
                  </a:lnTo>
                  <a:lnTo>
                    <a:pt x="61" y="269"/>
                  </a:lnTo>
                  <a:lnTo>
                    <a:pt x="71" y="273"/>
                  </a:lnTo>
                  <a:lnTo>
                    <a:pt x="80" y="277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54" y="5"/>
                  </a:lnTo>
                  <a:lnTo>
                    <a:pt x="39" y="7"/>
                  </a:lnTo>
                  <a:lnTo>
                    <a:pt x="39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6" name="Freeform 104">
              <a:extLst>
                <a:ext uri="{FF2B5EF4-FFF2-40B4-BE49-F238E27FC236}">
                  <a16:creationId xmlns:a16="http://schemas.microsoft.com/office/drawing/2014/main" id="{C0D8F80F-E97C-423B-9070-56DD02EDD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3657600"/>
              <a:ext cx="73025" cy="41275"/>
            </a:xfrm>
            <a:custGeom>
              <a:avLst/>
              <a:gdLst/>
              <a:ahLst/>
              <a:cxnLst>
                <a:cxn ang="0">
                  <a:pos x="46" y="26"/>
                </a:cxn>
                <a:cxn ang="0">
                  <a:pos x="46" y="19"/>
                </a:cxn>
                <a:cxn ang="0">
                  <a:pos x="46" y="19"/>
                </a:cxn>
                <a:cxn ang="0">
                  <a:pos x="44" y="11"/>
                </a:cxn>
                <a:cxn ang="0">
                  <a:pos x="41" y="6"/>
                </a:cxn>
                <a:cxn ang="0">
                  <a:pos x="35" y="0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0"/>
                </a:cxn>
                <a:cxn ang="0">
                  <a:pos x="6" y="6"/>
                </a:cxn>
                <a:cxn ang="0">
                  <a:pos x="2" y="11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11" y="22"/>
                </a:cxn>
                <a:cxn ang="0">
                  <a:pos x="22" y="21"/>
                </a:cxn>
                <a:cxn ang="0">
                  <a:pos x="22" y="21"/>
                </a:cxn>
                <a:cxn ang="0">
                  <a:pos x="35" y="22"/>
                </a:cxn>
                <a:cxn ang="0">
                  <a:pos x="46" y="26"/>
                </a:cxn>
                <a:cxn ang="0">
                  <a:pos x="46" y="26"/>
                </a:cxn>
              </a:cxnLst>
              <a:rect l="0" t="0" r="r" b="b"/>
              <a:pathLst>
                <a:path w="46" h="26">
                  <a:moveTo>
                    <a:pt x="46" y="26"/>
                  </a:moveTo>
                  <a:lnTo>
                    <a:pt x="46" y="19"/>
                  </a:lnTo>
                  <a:lnTo>
                    <a:pt x="46" y="19"/>
                  </a:lnTo>
                  <a:lnTo>
                    <a:pt x="44" y="11"/>
                  </a:lnTo>
                  <a:lnTo>
                    <a:pt x="41" y="6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1" y="22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35" y="22"/>
                  </a:lnTo>
                  <a:lnTo>
                    <a:pt x="46" y="26"/>
                  </a:lnTo>
                  <a:lnTo>
                    <a:pt x="46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7" name="Freeform 105">
              <a:extLst>
                <a:ext uri="{FF2B5EF4-FFF2-40B4-BE49-F238E27FC236}">
                  <a16:creationId xmlns:a16="http://schemas.microsoft.com/office/drawing/2014/main" id="{2D1A9C8A-6F15-4E42-8595-F1D9CD13E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3705225"/>
              <a:ext cx="173037" cy="176213"/>
            </a:xfrm>
            <a:custGeom>
              <a:avLst/>
              <a:gdLst/>
              <a:ahLst/>
              <a:cxnLst>
                <a:cxn ang="0">
                  <a:pos x="55" y="111"/>
                </a:cxn>
                <a:cxn ang="0">
                  <a:pos x="76" y="105"/>
                </a:cxn>
                <a:cxn ang="0">
                  <a:pos x="94" y="94"/>
                </a:cxn>
                <a:cxn ang="0">
                  <a:pos x="105" y="77"/>
                </a:cxn>
                <a:cxn ang="0">
                  <a:pos x="109" y="55"/>
                </a:cxn>
                <a:cxn ang="0">
                  <a:pos x="109" y="44"/>
                </a:cxn>
                <a:cxn ang="0">
                  <a:pos x="100" y="24"/>
                </a:cxn>
                <a:cxn ang="0">
                  <a:pos x="85" y="9"/>
                </a:cxn>
                <a:cxn ang="0">
                  <a:pos x="66" y="2"/>
                </a:cxn>
                <a:cxn ang="0">
                  <a:pos x="55" y="0"/>
                </a:cxn>
                <a:cxn ang="0">
                  <a:pos x="33" y="5"/>
                </a:cxn>
                <a:cxn ang="0">
                  <a:pos x="16" y="16"/>
                </a:cxn>
                <a:cxn ang="0">
                  <a:pos x="3" y="33"/>
                </a:cxn>
                <a:cxn ang="0">
                  <a:pos x="0" y="55"/>
                </a:cxn>
                <a:cxn ang="0">
                  <a:pos x="2" y="66"/>
                </a:cxn>
                <a:cxn ang="0">
                  <a:pos x="9" y="87"/>
                </a:cxn>
                <a:cxn ang="0">
                  <a:pos x="24" y="101"/>
                </a:cxn>
                <a:cxn ang="0">
                  <a:pos x="44" y="109"/>
                </a:cxn>
                <a:cxn ang="0">
                  <a:pos x="55" y="111"/>
                </a:cxn>
                <a:cxn ang="0">
                  <a:pos x="55" y="18"/>
                </a:cxn>
                <a:cxn ang="0">
                  <a:pos x="68" y="22"/>
                </a:cxn>
                <a:cxn ang="0">
                  <a:pos x="81" y="29"/>
                </a:cxn>
                <a:cxn ang="0">
                  <a:pos x="88" y="40"/>
                </a:cxn>
                <a:cxn ang="0">
                  <a:pos x="90" y="55"/>
                </a:cxn>
                <a:cxn ang="0">
                  <a:pos x="90" y="63"/>
                </a:cxn>
                <a:cxn ang="0">
                  <a:pos x="85" y="76"/>
                </a:cxn>
                <a:cxn ang="0">
                  <a:pos x="76" y="85"/>
                </a:cxn>
                <a:cxn ang="0">
                  <a:pos x="63" y="90"/>
                </a:cxn>
                <a:cxn ang="0">
                  <a:pos x="55" y="92"/>
                </a:cxn>
                <a:cxn ang="0">
                  <a:pos x="40" y="88"/>
                </a:cxn>
                <a:cxn ang="0">
                  <a:pos x="29" y="81"/>
                </a:cxn>
                <a:cxn ang="0">
                  <a:pos x="22" y="70"/>
                </a:cxn>
                <a:cxn ang="0">
                  <a:pos x="18" y="55"/>
                </a:cxn>
                <a:cxn ang="0">
                  <a:pos x="20" y="48"/>
                </a:cxn>
                <a:cxn ang="0">
                  <a:pos x="24" y="35"/>
                </a:cxn>
                <a:cxn ang="0">
                  <a:pos x="35" y="26"/>
                </a:cxn>
                <a:cxn ang="0">
                  <a:pos x="48" y="20"/>
                </a:cxn>
                <a:cxn ang="0">
                  <a:pos x="55" y="18"/>
                </a:cxn>
              </a:cxnLst>
              <a:rect l="0" t="0" r="r" b="b"/>
              <a:pathLst>
                <a:path w="109" h="111">
                  <a:moveTo>
                    <a:pt x="55" y="111"/>
                  </a:moveTo>
                  <a:lnTo>
                    <a:pt x="55" y="111"/>
                  </a:lnTo>
                  <a:lnTo>
                    <a:pt x="66" y="109"/>
                  </a:lnTo>
                  <a:lnTo>
                    <a:pt x="76" y="105"/>
                  </a:lnTo>
                  <a:lnTo>
                    <a:pt x="85" y="101"/>
                  </a:lnTo>
                  <a:lnTo>
                    <a:pt x="94" y="94"/>
                  </a:lnTo>
                  <a:lnTo>
                    <a:pt x="100" y="87"/>
                  </a:lnTo>
                  <a:lnTo>
                    <a:pt x="105" y="77"/>
                  </a:lnTo>
                  <a:lnTo>
                    <a:pt x="109" y="66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44"/>
                  </a:lnTo>
                  <a:lnTo>
                    <a:pt x="105" y="33"/>
                  </a:lnTo>
                  <a:lnTo>
                    <a:pt x="100" y="24"/>
                  </a:lnTo>
                  <a:lnTo>
                    <a:pt x="94" y="16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6" y="2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4" y="2"/>
                  </a:lnTo>
                  <a:lnTo>
                    <a:pt x="33" y="5"/>
                  </a:lnTo>
                  <a:lnTo>
                    <a:pt x="24" y="9"/>
                  </a:lnTo>
                  <a:lnTo>
                    <a:pt x="16" y="16"/>
                  </a:lnTo>
                  <a:lnTo>
                    <a:pt x="9" y="24"/>
                  </a:lnTo>
                  <a:lnTo>
                    <a:pt x="3" y="33"/>
                  </a:lnTo>
                  <a:lnTo>
                    <a:pt x="2" y="44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6"/>
                  </a:lnTo>
                  <a:lnTo>
                    <a:pt x="3" y="77"/>
                  </a:lnTo>
                  <a:lnTo>
                    <a:pt x="9" y="87"/>
                  </a:lnTo>
                  <a:lnTo>
                    <a:pt x="16" y="94"/>
                  </a:lnTo>
                  <a:lnTo>
                    <a:pt x="24" y="101"/>
                  </a:lnTo>
                  <a:lnTo>
                    <a:pt x="33" y="105"/>
                  </a:lnTo>
                  <a:lnTo>
                    <a:pt x="44" y="109"/>
                  </a:lnTo>
                  <a:lnTo>
                    <a:pt x="55" y="111"/>
                  </a:lnTo>
                  <a:lnTo>
                    <a:pt x="55" y="111"/>
                  </a:lnTo>
                  <a:close/>
                  <a:moveTo>
                    <a:pt x="55" y="18"/>
                  </a:moveTo>
                  <a:lnTo>
                    <a:pt x="55" y="18"/>
                  </a:lnTo>
                  <a:lnTo>
                    <a:pt x="63" y="20"/>
                  </a:lnTo>
                  <a:lnTo>
                    <a:pt x="68" y="22"/>
                  </a:lnTo>
                  <a:lnTo>
                    <a:pt x="76" y="26"/>
                  </a:lnTo>
                  <a:lnTo>
                    <a:pt x="81" y="29"/>
                  </a:lnTo>
                  <a:lnTo>
                    <a:pt x="85" y="35"/>
                  </a:lnTo>
                  <a:lnTo>
                    <a:pt x="88" y="40"/>
                  </a:lnTo>
                  <a:lnTo>
                    <a:pt x="90" y="48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63"/>
                  </a:lnTo>
                  <a:lnTo>
                    <a:pt x="88" y="70"/>
                  </a:lnTo>
                  <a:lnTo>
                    <a:pt x="85" y="76"/>
                  </a:lnTo>
                  <a:lnTo>
                    <a:pt x="81" y="81"/>
                  </a:lnTo>
                  <a:lnTo>
                    <a:pt x="76" y="85"/>
                  </a:lnTo>
                  <a:lnTo>
                    <a:pt x="68" y="88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48" y="90"/>
                  </a:lnTo>
                  <a:lnTo>
                    <a:pt x="40" y="88"/>
                  </a:lnTo>
                  <a:lnTo>
                    <a:pt x="35" y="85"/>
                  </a:lnTo>
                  <a:lnTo>
                    <a:pt x="29" y="81"/>
                  </a:lnTo>
                  <a:lnTo>
                    <a:pt x="24" y="76"/>
                  </a:lnTo>
                  <a:lnTo>
                    <a:pt x="22" y="70"/>
                  </a:lnTo>
                  <a:lnTo>
                    <a:pt x="20" y="6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20" y="48"/>
                  </a:lnTo>
                  <a:lnTo>
                    <a:pt x="22" y="40"/>
                  </a:lnTo>
                  <a:lnTo>
                    <a:pt x="24" y="35"/>
                  </a:lnTo>
                  <a:lnTo>
                    <a:pt x="29" y="29"/>
                  </a:lnTo>
                  <a:lnTo>
                    <a:pt x="35" y="26"/>
                  </a:lnTo>
                  <a:lnTo>
                    <a:pt x="40" y="22"/>
                  </a:lnTo>
                  <a:lnTo>
                    <a:pt x="48" y="20"/>
                  </a:lnTo>
                  <a:lnTo>
                    <a:pt x="55" y="18"/>
                  </a:lnTo>
                  <a:lnTo>
                    <a:pt x="55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8" name="Freeform 106">
              <a:extLst>
                <a:ext uri="{FF2B5EF4-FFF2-40B4-BE49-F238E27FC236}">
                  <a16:creationId xmlns:a16="http://schemas.microsoft.com/office/drawing/2014/main" id="{1590BB5B-2F3F-4754-A5AD-4D2E1CFE4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3751263"/>
              <a:ext cx="82550" cy="82550"/>
            </a:xfrm>
            <a:custGeom>
              <a:avLst/>
              <a:gdLst/>
              <a:ahLst/>
              <a:cxnLst>
                <a:cxn ang="0">
                  <a:pos x="26" y="52"/>
                </a:cxn>
                <a:cxn ang="0">
                  <a:pos x="26" y="52"/>
                </a:cxn>
                <a:cxn ang="0">
                  <a:pos x="35" y="50"/>
                </a:cxn>
                <a:cxn ang="0">
                  <a:pos x="45" y="45"/>
                </a:cxn>
                <a:cxn ang="0">
                  <a:pos x="50" y="37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0" y="15"/>
                </a:cxn>
                <a:cxn ang="0">
                  <a:pos x="45" y="8"/>
                </a:cxn>
                <a:cxn ang="0">
                  <a:pos x="35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15" y="2"/>
                </a:cxn>
                <a:cxn ang="0">
                  <a:pos x="8" y="8"/>
                </a:cxn>
                <a:cxn ang="0">
                  <a:pos x="2" y="15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7"/>
                </a:cxn>
                <a:cxn ang="0">
                  <a:pos x="8" y="45"/>
                </a:cxn>
                <a:cxn ang="0">
                  <a:pos x="15" y="50"/>
                </a:cxn>
                <a:cxn ang="0">
                  <a:pos x="26" y="52"/>
                </a:cxn>
                <a:cxn ang="0">
                  <a:pos x="26" y="52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lnTo>
                    <a:pt x="26" y="52"/>
                  </a:lnTo>
                  <a:lnTo>
                    <a:pt x="35" y="50"/>
                  </a:lnTo>
                  <a:lnTo>
                    <a:pt x="45" y="45"/>
                  </a:lnTo>
                  <a:lnTo>
                    <a:pt x="50" y="37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15"/>
                  </a:lnTo>
                  <a:lnTo>
                    <a:pt x="45" y="8"/>
                  </a:lnTo>
                  <a:lnTo>
                    <a:pt x="35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5" y="2"/>
                  </a:lnTo>
                  <a:lnTo>
                    <a:pt x="8" y="8"/>
                  </a:lnTo>
                  <a:lnTo>
                    <a:pt x="2" y="1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8" y="45"/>
                  </a:lnTo>
                  <a:lnTo>
                    <a:pt x="15" y="50"/>
                  </a:lnTo>
                  <a:lnTo>
                    <a:pt x="26" y="52"/>
                  </a:lnTo>
                  <a:lnTo>
                    <a:pt x="26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9" name="Freeform 107">
              <a:extLst>
                <a:ext uri="{FF2B5EF4-FFF2-40B4-BE49-F238E27FC236}">
                  <a16:creationId xmlns:a16="http://schemas.microsoft.com/office/drawing/2014/main" id="{B3BDBABA-EAD5-4B75-893E-F6A130672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388" y="3751263"/>
              <a:ext cx="273050" cy="123825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6" y="28"/>
                </a:cxn>
                <a:cxn ang="0">
                  <a:pos x="43" y="35"/>
                </a:cxn>
                <a:cxn ang="0">
                  <a:pos x="82" y="47"/>
                </a:cxn>
                <a:cxn ang="0">
                  <a:pos x="119" y="61"/>
                </a:cxn>
                <a:cxn ang="0">
                  <a:pos x="154" y="78"/>
                </a:cxn>
                <a:cxn ang="0">
                  <a:pos x="154" y="78"/>
                </a:cxn>
                <a:cxn ang="0">
                  <a:pos x="157" y="71"/>
                </a:cxn>
                <a:cxn ang="0">
                  <a:pos x="161" y="63"/>
                </a:cxn>
                <a:cxn ang="0">
                  <a:pos x="165" y="56"/>
                </a:cxn>
                <a:cxn ang="0">
                  <a:pos x="172" y="50"/>
                </a:cxn>
                <a:cxn ang="0">
                  <a:pos x="172" y="50"/>
                </a:cxn>
                <a:cxn ang="0">
                  <a:pos x="130" y="32"/>
                </a:cxn>
                <a:cxn ang="0">
                  <a:pos x="87" y="17"/>
                </a:cxn>
                <a:cxn ang="0">
                  <a:pos x="43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3"/>
                </a:cxn>
                <a:cxn ang="0">
                  <a:pos x="6" y="26"/>
                </a:cxn>
                <a:cxn ang="0">
                  <a:pos x="6" y="28"/>
                </a:cxn>
              </a:cxnLst>
              <a:rect l="0" t="0" r="r" b="b"/>
              <a:pathLst>
                <a:path w="172" h="78">
                  <a:moveTo>
                    <a:pt x="6" y="28"/>
                  </a:moveTo>
                  <a:lnTo>
                    <a:pt x="6" y="28"/>
                  </a:lnTo>
                  <a:lnTo>
                    <a:pt x="43" y="35"/>
                  </a:lnTo>
                  <a:lnTo>
                    <a:pt x="82" y="47"/>
                  </a:lnTo>
                  <a:lnTo>
                    <a:pt x="119" y="61"/>
                  </a:lnTo>
                  <a:lnTo>
                    <a:pt x="154" y="78"/>
                  </a:lnTo>
                  <a:lnTo>
                    <a:pt x="154" y="78"/>
                  </a:lnTo>
                  <a:lnTo>
                    <a:pt x="157" y="71"/>
                  </a:lnTo>
                  <a:lnTo>
                    <a:pt x="161" y="63"/>
                  </a:lnTo>
                  <a:lnTo>
                    <a:pt x="165" y="56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30" y="32"/>
                  </a:lnTo>
                  <a:lnTo>
                    <a:pt x="87" y="17"/>
                  </a:lnTo>
                  <a:lnTo>
                    <a:pt x="43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6" y="26"/>
                  </a:lnTo>
                  <a:lnTo>
                    <a:pt x="6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0" name="Freeform 108">
              <a:extLst>
                <a:ext uri="{FF2B5EF4-FFF2-40B4-BE49-F238E27FC236}">
                  <a16:creationId xmlns:a16="http://schemas.microsoft.com/office/drawing/2014/main" id="{AB7D5007-CBE9-4843-8A15-739ADA382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3940175"/>
              <a:ext cx="125412" cy="1841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51" y="86"/>
                </a:cxn>
                <a:cxn ang="0">
                  <a:pos x="68" y="116"/>
                </a:cxn>
                <a:cxn ang="0">
                  <a:pos x="79" y="116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62" y="88"/>
                </a:cxn>
                <a:cxn ang="0">
                  <a:pos x="7" y="0"/>
                </a:cxn>
              </a:cxnLst>
              <a:rect l="0" t="0" r="r" b="b"/>
              <a:pathLst>
                <a:path w="79" h="116">
                  <a:moveTo>
                    <a:pt x="7" y="0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51" y="86"/>
                  </a:lnTo>
                  <a:lnTo>
                    <a:pt x="68" y="116"/>
                  </a:lnTo>
                  <a:lnTo>
                    <a:pt x="79" y="116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1" name="Freeform 109">
              <a:extLst>
                <a:ext uri="{FF2B5EF4-FFF2-40B4-BE49-F238E27FC236}">
                  <a16:creationId xmlns:a16="http://schemas.microsoft.com/office/drawing/2014/main" id="{6B0416FA-ADD0-4BD9-ADD3-9EE765E04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3833813"/>
              <a:ext cx="101600" cy="106363"/>
            </a:xfrm>
            <a:custGeom>
              <a:avLst/>
              <a:gdLst/>
              <a:ahLst/>
              <a:cxnLst>
                <a:cxn ang="0">
                  <a:pos x="31" y="67"/>
                </a:cxn>
                <a:cxn ang="0">
                  <a:pos x="31" y="67"/>
                </a:cxn>
                <a:cxn ang="0">
                  <a:pos x="39" y="65"/>
                </a:cxn>
                <a:cxn ang="0">
                  <a:pos x="44" y="63"/>
                </a:cxn>
                <a:cxn ang="0">
                  <a:pos x="50" y="61"/>
                </a:cxn>
                <a:cxn ang="0">
                  <a:pos x="55" y="57"/>
                </a:cxn>
                <a:cxn ang="0">
                  <a:pos x="59" y="52"/>
                </a:cxn>
                <a:cxn ang="0">
                  <a:pos x="63" y="46"/>
                </a:cxn>
                <a:cxn ang="0">
                  <a:pos x="64" y="41"/>
                </a:cxn>
                <a:cxn ang="0">
                  <a:pos x="64" y="33"/>
                </a:cxn>
                <a:cxn ang="0">
                  <a:pos x="64" y="33"/>
                </a:cxn>
                <a:cxn ang="0">
                  <a:pos x="64" y="28"/>
                </a:cxn>
                <a:cxn ang="0">
                  <a:pos x="63" y="20"/>
                </a:cxn>
                <a:cxn ang="0">
                  <a:pos x="59" y="15"/>
                </a:cxn>
                <a:cxn ang="0">
                  <a:pos x="55" y="11"/>
                </a:cxn>
                <a:cxn ang="0">
                  <a:pos x="50" y="6"/>
                </a:cxn>
                <a:cxn ang="0">
                  <a:pos x="44" y="4"/>
                </a:cxn>
                <a:cxn ang="0">
                  <a:pos x="39" y="2"/>
                </a:cxn>
                <a:cxn ang="0">
                  <a:pos x="31" y="0"/>
                </a:cxn>
                <a:cxn ang="0">
                  <a:pos x="31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3" y="6"/>
                </a:cxn>
                <a:cxn ang="0">
                  <a:pos x="9" y="11"/>
                </a:cxn>
                <a:cxn ang="0">
                  <a:pos x="5" y="15"/>
                </a:cxn>
                <a:cxn ang="0">
                  <a:pos x="2" y="20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41"/>
                </a:cxn>
                <a:cxn ang="0">
                  <a:pos x="2" y="46"/>
                </a:cxn>
                <a:cxn ang="0">
                  <a:pos x="5" y="52"/>
                </a:cxn>
                <a:cxn ang="0">
                  <a:pos x="9" y="57"/>
                </a:cxn>
                <a:cxn ang="0">
                  <a:pos x="13" y="61"/>
                </a:cxn>
                <a:cxn ang="0">
                  <a:pos x="18" y="63"/>
                </a:cxn>
                <a:cxn ang="0">
                  <a:pos x="26" y="65"/>
                </a:cxn>
                <a:cxn ang="0">
                  <a:pos x="31" y="67"/>
                </a:cxn>
                <a:cxn ang="0">
                  <a:pos x="31" y="67"/>
                </a:cxn>
                <a:cxn ang="0">
                  <a:pos x="31" y="11"/>
                </a:cxn>
                <a:cxn ang="0">
                  <a:pos x="31" y="11"/>
                </a:cxn>
                <a:cxn ang="0">
                  <a:pos x="40" y="13"/>
                </a:cxn>
                <a:cxn ang="0">
                  <a:pos x="48" y="19"/>
                </a:cxn>
                <a:cxn ang="0">
                  <a:pos x="52" y="24"/>
                </a:cxn>
                <a:cxn ang="0">
                  <a:pos x="53" y="33"/>
                </a:cxn>
                <a:cxn ang="0">
                  <a:pos x="53" y="33"/>
                </a:cxn>
                <a:cxn ang="0">
                  <a:pos x="52" y="43"/>
                </a:cxn>
                <a:cxn ang="0">
                  <a:pos x="48" y="50"/>
                </a:cxn>
                <a:cxn ang="0">
                  <a:pos x="40" y="54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24" y="54"/>
                </a:cxn>
                <a:cxn ang="0">
                  <a:pos x="16" y="50"/>
                </a:cxn>
                <a:cxn ang="0">
                  <a:pos x="11" y="43"/>
                </a:cxn>
                <a:cxn ang="0">
                  <a:pos x="9" y="33"/>
                </a:cxn>
                <a:cxn ang="0">
                  <a:pos x="9" y="33"/>
                </a:cxn>
                <a:cxn ang="0">
                  <a:pos x="11" y="24"/>
                </a:cxn>
                <a:cxn ang="0">
                  <a:pos x="16" y="19"/>
                </a:cxn>
                <a:cxn ang="0">
                  <a:pos x="24" y="13"/>
                </a:cxn>
                <a:cxn ang="0">
                  <a:pos x="31" y="11"/>
                </a:cxn>
                <a:cxn ang="0">
                  <a:pos x="31" y="11"/>
                </a:cxn>
              </a:cxnLst>
              <a:rect l="0" t="0" r="r" b="b"/>
              <a:pathLst>
                <a:path w="64" h="67">
                  <a:moveTo>
                    <a:pt x="31" y="67"/>
                  </a:moveTo>
                  <a:lnTo>
                    <a:pt x="31" y="67"/>
                  </a:lnTo>
                  <a:lnTo>
                    <a:pt x="39" y="65"/>
                  </a:lnTo>
                  <a:lnTo>
                    <a:pt x="44" y="63"/>
                  </a:lnTo>
                  <a:lnTo>
                    <a:pt x="50" y="61"/>
                  </a:lnTo>
                  <a:lnTo>
                    <a:pt x="55" y="57"/>
                  </a:lnTo>
                  <a:lnTo>
                    <a:pt x="59" y="52"/>
                  </a:lnTo>
                  <a:lnTo>
                    <a:pt x="63" y="46"/>
                  </a:lnTo>
                  <a:lnTo>
                    <a:pt x="64" y="41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28"/>
                  </a:lnTo>
                  <a:lnTo>
                    <a:pt x="63" y="20"/>
                  </a:lnTo>
                  <a:lnTo>
                    <a:pt x="59" y="15"/>
                  </a:lnTo>
                  <a:lnTo>
                    <a:pt x="55" y="11"/>
                  </a:lnTo>
                  <a:lnTo>
                    <a:pt x="50" y="6"/>
                  </a:lnTo>
                  <a:lnTo>
                    <a:pt x="44" y="4"/>
                  </a:lnTo>
                  <a:lnTo>
                    <a:pt x="39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3" y="6"/>
                  </a:lnTo>
                  <a:lnTo>
                    <a:pt x="9" y="11"/>
                  </a:lnTo>
                  <a:lnTo>
                    <a:pt x="5" y="15"/>
                  </a:lnTo>
                  <a:lnTo>
                    <a:pt x="2" y="20"/>
                  </a:lnTo>
                  <a:lnTo>
                    <a:pt x="0" y="28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2" y="46"/>
                  </a:lnTo>
                  <a:lnTo>
                    <a:pt x="5" y="52"/>
                  </a:lnTo>
                  <a:lnTo>
                    <a:pt x="9" y="57"/>
                  </a:lnTo>
                  <a:lnTo>
                    <a:pt x="13" y="61"/>
                  </a:lnTo>
                  <a:lnTo>
                    <a:pt x="18" y="63"/>
                  </a:lnTo>
                  <a:lnTo>
                    <a:pt x="26" y="65"/>
                  </a:lnTo>
                  <a:lnTo>
                    <a:pt x="31" y="67"/>
                  </a:lnTo>
                  <a:lnTo>
                    <a:pt x="31" y="67"/>
                  </a:lnTo>
                  <a:close/>
                  <a:moveTo>
                    <a:pt x="31" y="11"/>
                  </a:moveTo>
                  <a:lnTo>
                    <a:pt x="31" y="11"/>
                  </a:lnTo>
                  <a:lnTo>
                    <a:pt x="40" y="13"/>
                  </a:lnTo>
                  <a:lnTo>
                    <a:pt x="48" y="19"/>
                  </a:lnTo>
                  <a:lnTo>
                    <a:pt x="52" y="24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43"/>
                  </a:lnTo>
                  <a:lnTo>
                    <a:pt x="48" y="50"/>
                  </a:lnTo>
                  <a:lnTo>
                    <a:pt x="40" y="54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24" y="54"/>
                  </a:lnTo>
                  <a:lnTo>
                    <a:pt x="16" y="50"/>
                  </a:lnTo>
                  <a:lnTo>
                    <a:pt x="11" y="4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1" y="24"/>
                  </a:lnTo>
                  <a:lnTo>
                    <a:pt x="16" y="19"/>
                  </a:lnTo>
                  <a:lnTo>
                    <a:pt x="24" y="13"/>
                  </a:lnTo>
                  <a:lnTo>
                    <a:pt x="31" y="11"/>
                  </a:lnTo>
                  <a:lnTo>
                    <a:pt x="31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2" name="Freeform 110">
              <a:extLst>
                <a:ext uri="{FF2B5EF4-FFF2-40B4-BE49-F238E27FC236}">
                  <a16:creationId xmlns:a16="http://schemas.microsoft.com/office/drawing/2014/main" id="{2BB807C9-17F1-4598-BFD0-36835CE9C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138" y="3860800"/>
              <a:ext cx="52387" cy="52388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29" y="29"/>
                </a:cxn>
                <a:cxn ang="0">
                  <a:pos x="33" y="24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11"/>
                </a:cxn>
                <a:cxn ang="0">
                  <a:pos x="29" y="5"/>
                </a:cxn>
                <a:cxn ang="0">
                  <a:pos x="24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5" y="5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1" y="33"/>
                </a:cxn>
                <a:cxn ang="0">
                  <a:pos x="16" y="33"/>
                </a:cxn>
                <a:cxn ang="0">
                  <a:pos x="16" y="3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lnTo>
                    <a:pt x="16" y="33"/>
                  </a:lnTo>
                  <a:lnTo>
                    <a:pt x="24" y="33"/>
                  </a:lnTo>
                  <a:lnTo>
                    <a:pt x="29" y="29"/>
                  </a:lnTo>
                  <a:lnTo>
                    <a:pt x="33" y="2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1"/>
                  </a:lnTo>
                  <a:lnTo>
                    <a:pt x="29" y="5"/>
                  </a:lnTo>
                  <a:lnTo>
                    <a:pt x="24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1" y="2"/>
                  </a:lnTo>
                  <a:lnTo>
                    <a:pt x="5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24"/>
                  </a:lnTo>
                  <a:lnTo>
                    <a:pt x="5" y="29"/>
                  </a:lnTo>
                  <a:lnTo>
                    <a:pt x="11" y="33"/>
                  </a:lnTo>
                  <a:lnTo>
                    <a:pt x="16" y="33"/>
                  </a:lnTo>
                  <a:lnTo>
                    <a:pt x="16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73" name="Freeform 30">
            <a:extLst>
              <a:ext uri="{FF2B5EF4-FFF2-40B4-BE49-F238E27FC236}">
                <a16:creationId xmlns:a16="http://schemas.microsoft.com/office/drawing/2014/main" id="{F5BAA3DB-FAB6-4B34-BF95-656FB0636ED4}"/>
              </a:ext>
            </a:extLst>
          </p:cNvPr>
          <p:cNvSpPr>
            <a:spLocks/>
          </p:cNvSpPr>
          <p:nvPr/>
        </p:nvSpPr>
        <p:spPr bwMode="auto">
          <a:xfrm>
            <a:off x="4351448" y="4077860"/>
            <a:ext cx="288000" cy="288000"/>
          </a:xfrm>
          <a:custGeom>
            <a:avLst/>
            <a:gdLst/>
            <a:ahLst/>
            <a:cxnLst>
              <a:cxn ang="0">
                <a:pos x="440" y="294"/>
              </a:cxn>
              <a:cxn ang="0">
                <a:pos x="436" y="292"/>
              </a:cxn>
              <a:cxn ang="0">
                <a:pos x="428" y="296"/>
              </a:cxn>
              <a:cxn ang="0">
                <a:pos x="428" y="342"/>
              </a:cxn>
              <a:cxn ang="0">
                <a:pos x="394" y="344"/>
              </a:cxn>
              <a:cxn ang="0">
                <a:pos x="352" y="354"/>
              </a:cxn>
              <a:cxn ang="0">
                <a:pos x="328" y="366"/>
              </a:cxn>
              <a:cxn ang="0">
                <a:pos x="316" y="118"/>
              </a:cxn>
              <a:cxn ang="0">
                <a:pos x="360" y="118"/>
              </a:cxn>
              <a:cxn ang="0">
                <a:pos x="370" y="114"/>
              </a:cxn>
              <a:cxn ang="0">
                <a:pos x="368" y="106"/>
              </a:cxn>
              <a:cxn ang="0">
                <a:pos x="296" y="6"/>
              </a:cxn>
              <a:cxn ang="0">
                <a:pos x="286" y="0"/>
              </a:cxn>
              <a:cxn ang="0">
                <a:pos x="278" y="6"/>
              </a:cxn>
              <a:cxn ang="0">
                <a:pos x="206" y="106"/>
              </a:cxn>
              <a:cxn ang="0">
                <a:pos x="204" y="114"/>
              </a:cxn>
              <a:cxn ang="0">
                <a:pos x="212" y="118"/>
              </a:cxn>
              <a:cxn ang="0">
                <a:pos x="258" y="282"/>
              </a:cxn>
              <a:cxn ang="0">
                <a:pos x="246" y="270"/>
              </a:cxn>
              <a:cxn ang="0">
                <a:pos x="220" y="252"/>
              </a:cxn>
              <a:cxn ang="0">
                <a:pos x="188" y="238"/>
              </a:cxn>
              <a:cxn ang="0">
                <a:pos x="152" y="230"/>
              </a:cxn>
              <a:cxn ang="0">
                <a:pos x="132" y="228"/>
              </a:cxn>
              <a:cxn ang="0">
                <a:pos x="118" y="232"/>
              </a:cxn>
              <a:cxn ang="0">
                <a:pos x="118" y="184"/>
              </a:cxn>
              <a:cxn ang="0">
                <a:pos x="114" y="176"/>
              </a:cxn>
              <a:cxn ang="0">
                <a:pos x="104" y="178"/>
              </a:cxn>
              <a:cxn ang="0">
                <a:pos x="4" y="250"/>
              </a:cxn>
              <a:cxn ang="0">
                <a:pos x="0" y="258"/>
              </a:cxn>
              <a:cxn ang="0">
                <a:pos x="4" y="268"/>
              </a:cxn>
              <a:cxn ang="0">
                <a:pos x="104" y="340"/>
              </a:cxn>
              <a:cxn ang="0">
                <a:pos x="114" y="342"/>
              </a:cxn>
              <a:cxn ang="0">
                <a:pos x="118" y="332"/>
              </a:cxn>
              <a:cxn ang="0">
                <a:pos x="118" y="284"/>
              </a:cxn>
              <a:cxn ang="0">
                <a:pos x="132" y="286"/>
              </a:cxn>
              <a:cxn ang="0">
                <a:pos x="150" y="288"/>
              </a:cxn>
              <a:cxn ang="0">
                <a:pos x="182" y="298"/>
              </a:cxn>
              <a:cxn ang="0">
                <a:pos x="208" y="314"/>
              </a:cxn>
              <a:cxn ang="0">
                <a:pos x="226" y="334"/>
              </a:cxn>
              <a:cxn ang="0">
                <a:pos x="244" y="368"/>
              </a:cxn>
              <a:cxn ang="0">
                <a:pos x="256" y="406"/>
              </a:cxn>
              <a:cxn ang="0">
                <a:pos x="258" y="490"/>
              </a:cxn>
              <a:cxn ang="0">
                <a:pos x="258" y="512"/>
              </a:cxn>
              <a:cxn ang="0">
                <a:pos x="258" y="556"/>
              </a:cxn>
              <a:cxn ang="0">
                <a:pos x="266" y="576"/>
              </a:cxn>
              <a:cxn ang="0">
                <a:pos x="286" y="584"/>
              </a:cxn>
              <a:cxn ang="0">
                <a:pos x="298" y="582"/>
              </a:cxn>
              <a:cxn ang="0">
                <a:pos x="314" y="568"/>
              </a:cxn>
              <a:cxn ang="0">
                <a:pos x="316" y="490"/>
              </a:cxn>
              <a:cxn ang="0">
                <a:pos x="318" y="478"/>
              </a:cxn>
              <a:cxn ang="0">
                <a:pos x="328" y="446"/>
              </a:cxn>
              <a:cxn ang="0">
                <a:pos x="340" y="432"/>
              </a:cxn>
              <a:cxn ang="0">
                <a:pos x="356" y="418"/>
              </a:cxn>
              <a:cxn ang="0">
                <a:pos x="376" y="408"/>
              </a:cxn>
              <a:cxn ang="0">
                <a:pos x="428" y="400"/>
              </a:cxn>
              <a:cxn ang="0">
                <a:pos x="428" y="448"/>
              </a:cxn>
              <a:cxn ang="0">
                <a:pos x="432" y="458"/>
              </a:cxn>
              <a:cxn ang="0">
                <a:pos x="440" y="456"/>
              </a:cxn>
              <a:cxn ang="0">
                <a:pos x="540" y="384"/>
              </a:cxn>
              <a:cxn ang="0">
                <a:pos x="546" y="374"/>
              </a:cxn>
              <a:cxn ang="0">
                <a:pos x="540" y="366"/>
              </a:cxn>
            </a:cxnLst>
            <a:rect l="0" t="0" r="r" b="b"/>
            <a:pathLst>
              <a:path w="546" h="584">
                <a:moveTo>
                  <a:pt x="540" y="366"/>
                </a:moveTo>
                <a:lnTo>
                  <a:pt x="440" y="294"/>
                </a:lnTo>
                <a:lnTo>
                  <a:pt x="440" y="294"/>
                </a:lnTo>
                <a:lnTo>
                  <a:pt x="436" y="292"/>
                </a:lnTo>
                <a:lnTo>
                  <a:pt x="432" y="292"/>
                </a:lnTo>
                <a:lnTo>
                  <a:pt x="428" y="296"/>
                </a:lnTo>
                <a:lnTo>
                  <a:pt x="428" y="300"/>
                </a:lnTo>
                <a:lnTo>
                  <a:pt x="428" y="342"/>
                </a:lnTo>
                <a:lnTo>
                  <a:pt x="428" y="342"/>
                </a:lnTo>
                <a:lnTo>
                  <a:pt x="394" y="344"/>
                </a:lnTo>
                <a:lnTo>
                  <a:pt x="366" y="350"/>
                </a:lnTo>
                <a:lnTo>
                  <a:pt x="352" y="354"/>
                </a:lnTo>
                <a:lnTo>
                  <a:pt x="338" y="360"/>
                </a:lnTo>
                <a:lnTo>
                  <a:pt x="328" y="366"/>
                </a:lnTo>
                <a:lnTo>
                  <a:pt x="316" y="374"/>
                </a:lnTo>
                <a:lnTo>
                  <a:pt x="316" y="118"/>
                </a:lnTo>
                <a:lnTo>
                  <a:pt x="360" y="118"/>
                </a:lnTo>
                <a:lnTo>
                  <a:pt x="360" y="118"/>
                </a:lnTo>
                <a:lnTo>
                  <a:pt x="366" y="118"/>
                </a:lnTo>
                <a:lnTo>
                  <a:pt x="370" y="114"/>
                </a:lnTo>
                <a:lnTo>
                  <a:pt x="370" y="110"/>
                </a:lnTo>
                <a:lnTo>
                  <a:pt x="368" y="106"/>
                </a:lnTo>
                <a:lnTo>
                  <a:pt x="296" y="6"/>
                </a:lnTo>
                <a:lnTo>
                  <a:pt x="296" y="6"/>
                </a:lnTo>
                <a:lnTo>
                  <a:pt x="292" y="2"/>
                </a:lnTo>
                <a:lnTo>
                  <a:pt x="286" y="0"/>
                </a:lnTo>
                <a:lnTo>
                  <a:pt x="282" y="2"/>
                </a:lnTo>
                <a:lnTo>
                  <a:pt x="278" y="6"/>
                </a:lnTo>
                <a:lnTo>
                  <a:pt x="206" y="106"/>
                </a:lnTo>
                <a:lnTo>
                  <a:pt x="206" y="106"/>
                </a:lnTo>
                <a:lnTo>
                  <a:pt x="204" y="110"/>
                </a:lnTo>
                <a:lnTo>
                  <a:pt x="204" y="114"/>
                </a:lnTo>
                <a:lnTo>
                  <a:pt x="208" y="118"/>
                </a:lnTo>
                <a:lnTo>
                  <a:pt x="212" y="118"/>
                </a:lnTo>
                <a:lnTo>
                  <a:pt x="258" y="118"/>
                </a:lnTo>
                <a:lnTo>
                  <a:pt x="258" y="282"/>
                </a:lnTo>
                <a:lnTo>
                  <a:pt x="258" y="282"/>
                </a:lnTo>
                <a:lnTo>
                  <a:pt x="246" y="270"/>
                </a:lnTo>
                <a:lnTo>
                  <a:pt x="234" y="260"/>
                </a:lnTo>
                <a:lnTo>
                  <a:pt x="220" y="252"/>
                </a:lnTo>
                <a:lnTo>
                  <a:pt x="204" y="244"/>
                </a:lnTo>
                <a:lnTo>
                  <a:pt x="188" y="238"/>
                </a:lnTo>
                <a:lnTo>
                  <a:pt x="170" y="232"/>
                </a:lnTo>
                <a:lnTo>
                  <a:pt x="152" y="230"/>
                </a:lnTo>
                <a:lnTo>
                  <a:pt x="132" y="228"/>
                </a:lnTo>
                <a:lnTo>
                  <a:pt x="132" y="228"/>
                </a:lnTo>
                <a:lnTo>
                  <a:pt x="124" y="230"/>
                </a:lnTo>
                <a:lnTo>
                  <a:pt x="118" y="232"/>
                </a:lnTo>
                <a:lnTo>
                  <a:pt x="118" y="184"/>
                </a:lnTo>
                <a:lnTo>
                  <a:pt x="118" y="184"/>
                </a:lnTo>
                <a:lnTo>
                  <a:pt x="116" y="178"/>
                </a:lnTo>
                <a:lnTo>
                  <a:pt x="114" y="176"/>
                </a:lnTo>
                <a:lnTo>
                  <a:pt x="110" y="176"/>
                </a:lnTo>
                <a:lnTo>
                  <a:pt x="104" y="178"/>
                </a:lnTo>
                <a:lnTo>
                  <a:pt x="4" y="250"/>
                </a:lnTo>
                <a:lnTo>
                  <a:pt x="4" y="250"/>
                </a:lnTo>
                <a:lnTo>
                  <a:pt x="0" y="254"/>
                </a:lnTo>
                <a:lnTo>
                  <a:pt x="0" y="258"/>
                </a:lnTo>
                <a:lnTo>
                  <a:pt x="0" y="264"/>
                </a:lnTo>
                <a:lnTo>
                  <a:pt x="4" y="268"/>
                </a:lnTo>
                <a:lnTo>
                  <a:pt x="104" y="340"/>
                </a:lnTo>
                <a:lnTo>
                  <a:pt x="104" y="340"/>
                </a:lnTo>
                <a:lnTo>
                  <a:pt x="110" y="342"/>
                </a:lnTo>
                <a:lnTo>
                  <a:pt x="114" y="342"/>
                </a:lnTo>
                <a:lnTo>
                  <a:pt x="116" y="338"/>
                </a:lnTo>
                <a:lnTo>
                  <a:pt x="118" y="332"/>
                </a:lnTo>
                <a:lnTo>
                  <a:pt x="118" y="284"/>
                </a:lnTo>
                <a:lnTo>
                  <a:pt x="118" y="284"/>
                </a:lnTo>
                <a:lnTo>
                  <a:pt x="124" y="286"/>
                </a:lnTo>
                <a:lnTo>
                  <a:pt x="132" y="286"/>
                </a:lnTo>
                <a:lnTo>
                  <a:pt x="132" y="286"/>
                </a:lnTo>
                <a:lnTo>
                  <a:pt x="150" y="288"/>
                </a:lnTo>
                <a:lnTo>
                  <a:pt x="166" y="292"/>
                </a:lnTo>
                <a:lnTo>
                  <a:pt x="182" y="298"/>
                </a:lnTo>
                <a:lnTo>
                  <a:pt x="196" y="304"/>
                </a:lnTo>
                <a:lnTo>
                  <a:pt x="208" y="314"/>
                </a:lnTo>
                <a:lnTo>
                  <a:pt x="218" y="324"/>
                </a:lnTo>
                <a:lnTo>
                  <a:pt x="226" y="334"/>
                </a:lnTo>
                <a:lnTo>
                  <a:pt x="234" y="346"/>
                </a:lnTo>
                <a:lnTo>
                  <a:pt x="244" y="368"/>
                </a:lnTo>
                <a:lnTo>
                  <a:pt x="252" y="390"/>
                </a:lnTo>
                <a:lnTo>
                  <a:pt x="256" y="406"/>
                </a:lnTo>
                <a:lnTo>
                  <a:pt x="258" y="416"/>
                </a:lnTo>
                <a:lnTo>
                  <a:pt x="258" y="490"/>
                </a:lnTo>
                <a:lnTo>
                  <a:pt x="258" y="490"/>
                </a:lnTo>
                <a:lnTo>
                  <a:pt x="258" y="512"/>
                </a:lnTo>
                <a:lnTo>
                  <a:pt x="258" y="556"/>
                </a:lnTo>
                <a:lnTo>
                  <a:pt x="258" y="556"/>
                </a:lnTo>
                <a:lnTo>
                  <a:pt x="260" y="568"/>
                </a:lnTo>
                <a:lnTo>
                  <a:pt x="266" y="576"/>
                </a:lnTo>
                <a:lnTo>
                  <a:pt x="276" y="582"/>
                </a:lnTo>
                <a:lnTo>
                  <a:pt x="286" y="584"/>
                </a:lnTo>
                <a:lnTo>
                  <a:pt x="286" y="584"/>
                </a:lnTo>
                <a:lnTo>
                  <a:pt x="298" y="582"/>
                </a:lnTo>
                <a:lnTo>
                  <a:pt x="308" y="576"/>
                </a:lnTo>
                <a:lnTo>
                  <a:pt x="314" y="568"/>
                </a:lnTo>
                <a:lnTo>
                  <a:pt x="316" y="556"/>
                </a:lnTo>
                <a:lnTo>
                  <a:pt x="316" y="490"/>
                </a:lnTo>
                <a:lnTo>
                  <a:pt x="316" y="490"/>
                </a:lnTo>
                <a:lnTo>
                  <a:pt x="318" y="478"/>
                </a:lnTo>
                <a:lnTo>
                  <a:pt x="322" y="462"/>
                </a:lnTo>
                <a:lnTo>
                  <a:pt x="328" y="446"/>
                </a:lnTo>
                <a:lnTo>
                  <a:pt x="340" y="432"/>
                </a:lnTo>
                <a:lnTo>
                  <a:pt x="340" y="432"/>
                </a:lnTo>
                <a:lnTo>
                  <a:pt x="346" y="424"/>
                </a:lnTo>
                <a:lnTo>
                  <a:pt x="356" y="418"/>
                </a:lnTo>
                <a:lnTo>
                  <a:pt x="364" y="412"/>
                </a:lnTo>
                <a:lnTo>
                  <a:pt x="376" y="408"/>
                </a:lnTo>
                <a:lnTo>
                  <a:pt x="400" y="402"/>
                </a:lnTo>
                <a:lnTo>
                  <a:pt x="428" y="400"/>
                </a:lnTo>
                <a:lnTo>
                  <a:pt x="428" y="448"/>
                </a:lnTo>
                <a:lnTo>
                  <a:pt x="428" y="448"/>
                </a:lnTo>
                <a:lnTo>
                  <a:pt x="428" y="454"/>
                </a:lnTo>
                <a:lnTo>
                  <a:pt x="432" y="458"/>
                </a:lnTo>
                <a:lnTo>
                  <a:pt x="436" y="458"/>
                </a:lnTo>
                <a:lnTo>
                  <a:pt x="440" y="456"/>
                </a:lnTo>
                <a:lnTo>
                  <a:pt x="540" y="384"/>
                </a:lnTo>
                <a:lnTo>
                  <a:pt x="540" y="384"/>
                </a:lnTo>
                <a:lnTo>
                  <a:pt x="544" y="380"/>
                </a:lnTo>
                <a:lnTo>
                  <a:pt x="546" y="374"/>
                </a:lnTo>
                <a:lnTo>
                  <a:pt x="544" y="370"/>
                </a:lnTo>
                <a:lnTo>
                  <a:pt x="540" y="366"/>
                </a:lnTo>
                <a:lnTo>
                  <a:pt x="540" y="36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74" name="Group 473">
            <a:extLst>
              <a:ext uri="{FF2B5EF4-FFF2-40B4-BE49-F238E27FC236}">
                <a16:creationId xmlns:a16="http://schemas.microsoft.com/office/drawing/2014/main" id="{378C6AD6-ED63-4CA9-B00D-110F09D368D5}"/>
              </a:ext>
            </a:extLst>
          </p:cNvPr>
          <p:cNvGrpSpPr/>
          <p:nvPr/>
        </p:nvGrpSpPr>
        <p:grpSpPr>
          <a:xfrm>
            <a:off x="4368903" y="1368269"/>
            <a:ext cx="252000" cy="180000"/>
            <a:chOff x="-8937626" y="4010025"/>
            <a:chExt cx="914401" cy="984251"/>
          </a:xfrm>
          <a:solidFill>
            <a:schemeClr val="bg1"/>
          </a:solidFill>
        </p:grpSpPr>
        <p:sp>
          <p:nvSpPr>
            <p:cNvPr id="475" name="Freeform 77">
              <a:extLst>
                <a:ext uri="{FF2B5EF4-FFF2-40B4-BE49-F238E27FC236}">
                  <a16:creationId xmlns:a16="http://schemas.microsoft.com/office/drawing/2014/main" id="{DAE85D65-3C2B-408B-8962-4FBDEB282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31263" y="4187825"/>
              <a:ext cx="217488" cy="73025"/>
            </a:xfrm>
            <a:custGeom>
              <a:avLst/>
              <a:gdLst/>
              <a:ahLst/>
              <a:cxnLst>
                <a:cxn ang="0">
                  <a:pos x="69" y="137"/>
                </a:cxn>
                <a:cxn ang="0">
                  <a:pos x="342" y="137"/>
                </a:cxn>
                <a:cxn ang="0">
                  <a:pos x="342" y="137"/>
                </a:cxn>
                <a:cxn ang="0">
                  <a:pos x="349" y="137"/>
                </a:cxn>
                <a:cxn ang="0">
                  <a:pos x="356" y="136"/>
                </a:cxn>
                <a:cxn ang="0">
                  <a:pos x="369" y="132"/>
                </a:cxn>
                <a:cxn ang="0">
                  <a:pos x="381" y="126"/>
                </a:cxn>
                <a:cxn ang="0">
                  <a:pos x="392" y="117"/>
                </a:cxn>
                <a:cxn ang="0">
                  <a:pos x="400" y="107"/>
                </a:cxn>
                <a:cxn ang="0">
                  <a:pos x="406" y="96"/>
                </a:cxn>
                <a:cxn ang="0">
                  <a:pos x="409" y="83"/>
                </a:cxn>
                <a:cxn ang="0">
                  <a:pos x="411" y="75"/>
                </a:cxn>
                <a:cxn ang="0">
                  <a:pos x="412" y="68"/>
                </a:cxn>
                <a:cxn ang="0">
                  <a:pos x="412" y="68"/>
                </a:cxn>
                <a:cxn ang="0">
                  <a:pos x="411" y="61"/>
                </a:cxn>
                <a:cxn ang="0">
                  <a:pos x="409" y="55"/>
                </a:cxn>
                <a:cxn ang="0">
                  <a:pos x="406" y="42"/>
                </a:cxn>
                <a:cxn ang="0">
                  <a:pos x="400" y="31"/>
                </a:cxn>
                <a:cxn ang="0">
                  <a:pos x="392" y="20"/>
                </a:cxn>
                <a:cxn ang="0">
                  <a:pos x="381" y="12"/>
                </a:cxn>
                <a:cxn ang="0">
                  <a:pos x="369" y="6"/>
                </a:cxn>
                <a:cxn ang="0">
                  <a:pos x="356" y="1"/>
                </a:cxn>
                <a:cxn ang="0">
                  <a:pos x="349" y="0"/>
                </a:cxn>
                <a:cxn ang="0">
                  <a:pos x="342" y="0"/>
                </a:cxn>
                <a:cxn ang="0">
                  <a:pos x="69" y="0"/>
                </a:cxn>
                <a:cxn ang="0">
                  <a:pos x="69" y="0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41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1"/>
                </a:cxn>
                <a:cxn ang="0">
                  <a:pos x="5" y="42"/>
                </a:cxn>
                <a:cxn ang="0">
                  <a:pos x="1" y="55"/>
                </a:cxn>
                <a:cxn ang="0">
                  <a:pos x="0" y="61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75"/>
                </a:cxn>
                <a:cxn ang="0">
                  <a:pos x="1" y="83"/>
                </a:cxn>
                <a:cxn ang="0">
                  <a:pos x="5" y="96"/>
                </a:cxn>
                <a:cxn ang="0">
                  <a:pos x="12" y="107"/>
                </a:cxn>
                <a:cxn ang="0">
                  <a:pos x="20" y="117"/>
                </a:cxn>
                <a:cxn ang="0">
                  <a:pos x="30" y="126"/>
                </a:cxn>
                <a:cxn ang="0">
                  <a:pos x="41" y="132"/>
                </a:cxn>
                <a:cxn ang="0">
                  <a:pos x="54" y="136"/>
                </a:cxn>
                <a:cxn ang="0">
                  <a:pos x="61" y="137"/>
                </a:cxn>
                <a:cxn ang="0">
                  <a:pos x="69" y="137"/>
                </a:cxn>
                <a:cxn ang="0">
                  <a:pos x="69" y="137"/>
                </a:cxn>
              </a:cxnLst>
              <a:rect l="0" t="0" r="r" b="b"/>
              <a:pathLst>
                <a:path w="412" h="137">
                  <a:moveTo>
                    <a:pt x="69" y="137"/>
                  </a:moveTo>
                  <a:lnTo>
                    <a:pt x="342" y="137"/>
                  </a:lnTo>
                  <a:lnTo>
                    <a:pt x="342" y="137"/>
                  </a:lnTo>
                  <a:lnTo>
                    <a:pt x="349" y="137"/>
                  </a:lnTo>
                  <a:lnTo>
                    <a:pt x="356" y="136"/>
                  </a:lnTo>
                  <a:lnTo>
                    <a:pt x="369" y="132"/>
                  </a:lnTo>
                  <a:lnTo>
                    <a:pt x="381" y="126"/>
                  </a:lnTo>
                  <a:lnTo>
                    <a:pt x="392" y="117"/>
                  </a:lnTo>
                  <a:lnTo>
                    <a:pt x="400" y="107"/>
                  </a:lnTo>
                  <a:lnTo>
                    <a:pt x="406" y="96"/>
                  </a:lnTo>
                  <a:lnTo>
                    <a:pt x="409" y="83"/>
                  </a:lnTo>
                  <a:lnTo>
                    <a:pt x="411" y="75"/>
                  </a:lnTo>
                  <a:lnTo>
                    <a:pt x="412" y="68"/>
                  </a:lnTo>
                  <a:lnTo>
                    <a:pt x="412" y="68"/>
                  </a:lnTo>
                  <a:lnTo>
                    <a:pt x="411" y="61"/>
                  </a:lnTo>
                  <a:lnTo>
                    <a:pt x="409" y="55"/>
                  </a:lnTo>
                  <a:lnTo>
                    <a:pt x="406" y="42"/>
                  </a:lnTo>
                  <a:lnTo>
                    <a:pt x="400" y="31"/>
                  </a:lnTo>
                  <a:lnTo>
                    <a:pt x="392" y="20"/>
                  </a:lnTo>
                  <a:lnTo>
                    <a:pt x="381" y="12"/>
                  </a:lnTo>
                  <a:lnTo>
                    <a:pt x="369" y="6"/>
                  </a:lnTo>
                  <a:lnTo>
                    <a:pt x="356" y="1"/>
                  </a:lnTo>
                  <a:lnTo>
                    <a:pt x="349" y="0"/>
                  </a:lnTo>
                  <a:lnTo>
                    <a:pt x="342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41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1"/>
                  </a:lnTo>
                  <a:lnTo>
                    <a:pt x="5" y="42"/>
                  </a:lnTo>
                  <a:lnTo>
                    <a:pt x="1" y="55"/>
                  </a:lnTo>
                  <a:lnTo>
                    <a:pt x="0" y="61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5" y="96"/>
                  </a:lnTo>
                  <a:lnTo>
                    <a:pt x="12" y="107"/>
                  </a:lnTo>
                  <a:lnTo>
                    <a:pt x="20" y="117"/>
                  </a:lnTo>
                  <a:lnTo>
                    <a:pt x="30" y="126"/>
                  </a:lnTo>
                  <a:lnTo>
                    <a:pt x="41" y="132"/>
                  </a:lnTo>
                  <a:lnTo>
                    <a:pt x="54" y="136"/>
                  </a:lnTo>
                  <a:lnTo>
                    <a:pt x="61" y="137"/>
                  </a:lnTo>
                  <a:lnTo>
                    <a:pt x="69" y="137"/>
                  </a:lnTo>
                  <a:lnTo>
                    <a:pt x="69" y="1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6" name="Freeform 78">
              <a:extLst>
                <a:ext uri="{FF2B5EF4-FFF2-40B4-BE49-F238E27FC236}">
                  <a16:creationId xmlns:a16="http://schemas.microsoft.com/office/drawing/2014/main" id="{D12BF86B-BE0E-4FEE-9F70-569105F90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58238" y="4010025"/>
              <a:ext cx="71438" cy="150813"/>
            </a:xfrm>
            <a:custGeom>
              <a:avLst/>
              <a:gdLst/>
              <a:ahLst/>
              <a:cxnLst>
                <a:cxn ang="0">
                  <a:pos x="68" y="286"/>
                </a:cxn>
                <a:cxn ang="0">
                  <a:pos x="68" y="286"/>
                </a:cxn>
                <a:cxn ang="0">
                  <a:pos x="75" y="285"/>
                </a:cxn>
                <a:cxn ang="0">
                  <a:pos x="83" y="284"/>
                </a:cxn>
                <a:cxn ang="0">
                  <a:pos x="96" y="280"/>
                </a:cxn>
                <a:cxn ang="0">
                  <a:pos x="107" y="274"/>
                </a:cxn>
                <a:cxn ang="0">
                  <a:pos x="117" y="265"/>
                </a:cxn>
                <a:cxn ang="0">
                  <a:pos x="125" y="256"/>
                </a:cxn>
                <a:cxn ang="0">
                  <a:pos x="132" y="244"/>
                </a:cxn>
                <a:cxn ang="0">
                  <a:pos x="136" y="231"/>
                </a:cxn>
                <a:cxn ang="0">
                  <a:pos x="137" y="224"/>
                </a:cxn>
                <a:cxn ang="0">
                  <a:pos x="137" y="217"/>
                </a:cxn>
                <a:cxn ang="0">
                  <a:pos x="137" y="68"/>
                </a:cxn>
                <a:cxn ang="0">
                  <a:pos x="137" y="68"/>
                </a:cxn>
                <a:cxn ang="0">
                  <a:pos x="137" y="61"/>
                </a:cxn>
                <a:cxn ang="0">
                  <a:pos x="136" y="55"/>
                </a:cxn>
                <a:cxn ang="0">
                  <a:pos x="132" y="42"/>
                </a:cxn>
                <a:cxn ang="0">
                  <a:pos x="125" y="30"/>
                </a:cxn>
                <a:cxn ang="0">
                  <a:pos x="117" y="20"/>
                </a:cxn>
                <a:cxn ang="0">
                  <a:pos x="107" y="11"/>
                </a:cxn>
                <a:cxn ang="0">
                  <a:pos x="96" y="5"/>
                </a:cxn>
                <a:cxn ang="0">
                  <a:pos x="83" y="1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68" y="0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41" y="5"/>
                </a:cxn>
                <a:cxn ang="0">
                  <a:pos x="31" y="11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5" y="42"/>
                </a:cxn>
                <a:cxn ang="0">
                  <a:pos x="1" y="55"/>
                </a:cxn>
                <a:cxn ang="0">
                  <a:pos x="0" y="61"/>
                </a:cxn>
                <a:cxn ang="0">
                  <a:pos x="0" y="68"/>
                </a:cxn>
                <a:cxn ang="0">
                  <a:pos x="0" y="217"/>
                </a:cxn>
                <a:cxn ang="0">
                  <a:pos x="0" y="217"/>
                </a:cxn>
                <a:cxn ang="0">
                  <a:pos x="0" y="224"/>
                </a:cxn>
                <a:cxn ang="0">
                  <a:pos x="1" y="231"/>
                </a:cxn>
                <a:cxn ang="0">
                  <a:pos x="5" y="244"/>
                </a:cxn>
                <a:cxn ang="0">
                  <a:pos x="12" y="256"/>
                </a:cxn>
                <a:cxn ang="0">
                  <a:pos x="20" y="265"/>
                </a:cxn>
                <a:cxn ang="0">
                  <a:pos x="31" y="274"/>
                </a:cxn>
                <a:cxn ang="0">
                  <a:pos x="41" y="280"/>
                </a:cxn>
                <a:cxn ang="0">
                  <a:pos x="54" y="284"/>
                </a:cxn>
                <a:cxn ang="0">
                  <a:pos x="61" y="285"/>
                </a:cxn>
                <a:cxn ang="0">
                  <a:pos x="68" y="286"/>
                </a:cxn>
                <a:cxn ang="0">
                  <a:pos x="68" y="286"/>
                </a:cxn>
              </a:cxnLst>
              <a:rect l="0" t="0" r="r" b="b"/>
              <a:pathLst>
                <a:path w="137" h="286">
                  <a:moveTo>
                    <a:pt x="68" y="286"/>
                  </a:moveTo>
                  <a:lnTo>
                    <a:pt x="68" y="286"/>
                  </a:lnTo>
                  <a:lnTo>
                    <a:pt x="75" y="285"/>
                  </a:lnTo>
                  <a:lnTo>
                    <a:pt x="83" y="284"/>
                  </a:lnTo>
                  <a:lnTo>
                    <a:pt x="96" y="280"/>
                  </a:lnTo>
                  <a:lnTo>
                    <a:pt x="107" y="274"/>
                  </a:lnTo>
                  <a:lnTo>
                    <a:pt x="117" y="265"/>
                  </a:lnTo>
                  <a:lnTo>
                    <a:pt x="125" y="256"/>
                  </a:lnTo>
                  <a:lnTo>
                    <a:pt x="132" y="244"/>
                  </a:lnTo>
                  <a:lnTo>
                    <a:pt x="136" y="231"/>
                  </a:lnTo>
                  <a:lnTo>
                    <a:pt x="137" y="224"/>
                  </a:lnTo>
                  <a:lnTo>
                    <a:pt x="137" y="217"/>
                  </a:lnTo>
                  <a:lnTo>
                    <a:pt x="137" y="68"/>
                  </a:lnTo>
                  <a:lnTo>
                    <a:pt x="137" y="68"/>
                  </a:lnTo>
                  <a:lnTo>
                    <a:pt x="137" y="61"/>
                  </a:lnTo>
                  <a:lnTo>
                    <a:pt x="136" y="55"/>
                  </a:lnTo>
                  <a:lnTo>
                    <a:pt x="132" y="42"/>
                  </a:lnTo>
                  <a:lnTo>
                    <a:pt x="125" y="30"/>
                  </a:lnTo>
                  <a:lnTo>
                    <a:pt x="117" y="20"/>
                  </a:lnTo>
                  <a:lnTo>
                    <a:pt x="107" y="11"/>
                  </a:lnTo>
                  <a:lnTo>
                    <a:pt x="96" y="5"/>
                  </a:lnTo>
                  <a:lnTo>
                    <a:pt x="83" y="1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41" y="5"/>
                  </a:lnTo>
                  <a:lnTo>
                    <a:pt x="31" y="11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5" y="42"/>
                  </a:lnTo>
                  <a:lnTo>
                    <a:pt x="1" y="55"/>
                  </a:lnTo>
                  <a:lnTo>
                    <a:pt x="0" y="61"/>
                  </a:lnTo>
                  <a:lnTo>
                    <a:pt x="0" y="68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24"/>
                  </a:lnTo>
                  <a:lnTo>
                    <a:pt x="1" y="231"/>
                  </a:lnTo>
                  <a:lnTo>
                    <a:pt x="5" y="244"/>
                  </a:lnTo>
                  <a:lnTo>
                    <a:pt x="12" y="256"/>
                  </a:lnTo>
                  <a:lnTo>
                    <a:pt x="20" y="265"/>
                  </a:lnTo>
                  <a:lnTo>
                    <a:pt x="31" y="274"/>
                  </a:lnTo>
                  <a:lnTo>
                    <a:pt x="41" y="280"/>
                  </a:lnTo>
                  <a:lnTo>
                    <a:pt x="54" y="284"/>
                  </a:lnTo>
                  <a:lnTo>
                    <a:pt x="61" y="285"/>
                  </a:lnTo>
                  <a:lnTo>
                    <a:pt x="68" y="286"/>
                  </a:lnTo>
                  <a:lnTo>
                    <a:pt x="68" y="2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7" name="Freeform 79">
              <a:extLst>
                <a:ext uri="{FF2B5EF4-FFF2-40B4-BE49-F238E27FC236}">
                  <a16:creationId xmlns:a16="http://schemas.microsoft.com/office/drawing/2014/main" id="{7C7D25FB-D3F2-489C-ABB6-B6FD78C81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37626" y="4297363"/>
              <a:ext cx="430213" cy="696913"/>
            </a:xfrm>
            <a:custGeom>
              <a:avLst/>
              <a:gdLst/>
              <a:ahLst/>
              <a:cxnLst>
                <a:cxn ang="0">
                  <a:pos x="120" y="8"/>
                </a:cxn>
                <a:cxn ang="0">
                  <a:pos x="38" y="63"/>
                </a:cxn>
                <a:cxn ang="0">
                  <a:pos x="1" y="154"/>
                </a:cxn>
                <a:cxn ang="0">
                  <a:pos x="7" y="1194"/>
                </a:cxn>
                <a:cxn ang="0">
                  <a:pos x="62" y="1276"/>
                </a:cxn>
                <a:cxn ang="0">
                  <a:pos x="153" y="1315"/>
                </a:cxn>
                <a:cxn ang="0">
                  <a:pos x="691" y="1308"/>
                </a:cxn>
                <a:cxn ang="0">
                  <a:pos x="772" y="1253"/>
                </a:cxn>
                <a:cxn ang="0">
                  <a:pos x="810" y="1161"/>
                </a:cxn>
                <a:cxn ang="0">
                  <a:pos x="804" y="121"/>
                </a:cxn>
                <a:cxn ang="0">
                  <a:pos x="749" y="39"/>
                </a:cxn>
                <a:cxn ang="0">
                  <a:pos x="658" y="0"/>
                </a:cxn>
                <a:cxn ang="0">
                  <a:pos x="352" y="1086"/>
                </a:cxn>
                <a:cxn ang="0">
                  <a:pos x="325" y="1104"/>
                </a:cxn>
                <a:cxn ang="0">
                  <a:pos x="142" y="1095"/>
                </a:cxn>
                <a:cxn ang="0">
                  <a:pos x="134" y="940"/>
                </a:cxn>
                <a:cxn ang="0">
                  <a:pos x="152" y="911"/>
                </a:cxn>
                <a:cxn ang="0">
                  <a:pos x="337" y="911"/>
                </a:cxn>
                <a:cxn ang="0">
                  <a:pos x="355" y="940"/>
                </a:cxn>
                <a:cxn ang="0">
                  <a:pos x="350" y="741"/>
                </a:cxn>
                <a:cxn ang="0">
                  <a:pos x="164" y="756"/>
                </a:cxn>
                <a:cxn ang="0">
                  <a:pos x="139" y="741"/>
                </a:cxn>
                <a:cxn ang="0">
                  <a:pos x="134" y="584"/>
                </a:cxn>
                <a:cxn ang="0">
                  <a:pos x="158" y="561"/>
                </a:cxn>
                <a:cxn ang="0">
                  <a:pos x="342" y="566"/>
                </a:cxn>
                <a:cxn ang="0">
                  <a:pos x="355" y="725"/>
                </a:cxn>
                <a:cxn ang="0">
                  <a:pos x="346" y="397"/>
                </a:cxn>
                <a:cxn ang="0">
                  <a:pos x="164" y="406"/>
                </a:cxn>
                <a:cxn ang="0">
                  <a:pos x="136" y="387"/>
                </a:cxn>
                <a:cxn ang="0">
                  <a:pos x="136" y="230"/>
                </a:cxn>
                <a:cxn ang="0">
                  <a:pos x="164" y="212"/>
                </a:cxn>
                <a:cxn ang="0">
                  <a:pos x="346" y="220"/>
                </a:cxn>
                <a:cxn ang="0">
                  <a:pos x="677" y="1074"/>
                </a:cxn>
                <a:cxn ang="0">
                  <a:pos x="664" y="1099"/>
                </a:cxn>
                <a:cxn ang="0">
                  <a:pos x="480" y="1104"/>
                </a:cxn>
                <a:cxn ang="0">
                  <a:pos x="456" y="1080"/>
                </a:cxn>
                <a:cxn ang="0">
                  <a:pos x="461" y="922"/>
                </a:cxn>
                <a:cxn ang="0">
                  <a:pos x="647" y="909"/>
                </a:cxn>
                <a:cxn ang="0">
                  <a:pos x="672" y="922"/>
                </a:cxn>
                <a:cxn ang="0">
                  <a:pos x="677" y="725"/>
                </a:cxn>
                <a:cxn ang="0">
                  <a:pos x="659" y="753"/>
                </a:cxn>
                <a:cxn ang="0">
                  <a:pos x="474" y="753"/>
                </a:cxn>
                <a:cxn ang="0">
                  <a:pos x="456" y="725"/>
                </a:cxn>
                <a:cxn ang="0">
                  <a:pos x="464" y="569"/>
                </a:cxn>
                <a:cxn ang="0">
                  <a:pos x="647" y="561"/>
                </a:cxn>
                <a:cxn ang="0">
                  <a:pos x="674" y="579"/>
                </a:cxn>
                <a:cxn ang="0">
                  <a:pos x="677" y="383"/>
                </a:cxn>
                <a:cxn ang="0">
                  <a:pos x="653" y="405"/>
                </a:cxn>
                <a:cxn ang="0">
                  <a:pos x="469" y="402"/>
                </a:cxn>
                <a:cxn ang="0">
                  <a:pos x="456" y="241"/>
                </a:cxn>
                <a:cxn ang="0">
                  <a:pos x="469" y="216"/>
                </a:cxn>
                <a:cxn ang="0">
                  <a:pos x="653" y="213"/>
                </a:cxn>
                <a:cxn ang="0">
                  <a:pos x="677" y="235"/>
                </a:cxn>
              </a:cxnLst>
              <a:rect l="0" t="0" r="r" b="b"/>
              <a:pathLst>
                <a:path w="811" h="1316">
                  <a:moveTo>
                    <a:pt x="640" y="0"/>
                  </a:moveTo>
                  <a:lnTo>
                    <a:pt x="171" y="0"/>
                  </a:lnTo>
                  <a:lnTo>
                    <a:pt x="171" y="0"/>
                  </a:lnTo>
                  <a:lnTo>
                    <a:pt x="153" y="0"/>
                  </a:lnTo>
                  <a:lnTo>
                    <a:pt x="136" y="4"/>
                  </a:lnTo>
                  <a:lnTo>
                    <a:pt x="120" y="8"/>
                  </a:lnTo>
                  <a:lnTo>
                    <a:pt x="105" y="13"/>
                  </a:lnTo>
                  <a:lnTo>
                    <a:pt x="89" y="20"/>
                  </a:lnTo>
                  <a:lnTo>
                    <a:pt x="75" y="29"/>
                  </a:lnTo>
                  <a:lnTo>
                    <a:pt x="62" y="39"/>
                  </a:lnTo>
                  <a:lnTo>
                    <a:pt x="50" y="50"/>
                  </a:lnTo>
                  <a:lnTo>
                    <a:pt x="38" y="63"/>
                  </a:lnTo>
                  <a:lnTo>
                    <a:pt x="29" y="76"/>
                  </a:lnTo>
                  <a:lnTo>
                    <a:pt x="20" y="90"/>
                  </a:lnTo>
                  <a:lnTo>
                    <a:pt x="12" y="104"/>
                  </a:lnTo>
                  <a:lnTo>
                    <a:pt x="7" y="121"/>
                  </a:lnTo>
                  <a:lnTo>
                    <a:pt x="3" y="137"/>
                  </a:lnTo>
                  <a:lnTo>
                    <a:pt x="1" y="154"/>
                  </a:lnTo>
                  <a:lnTo>
                    <a:pt x="0" y="172"/>
                  </a:lnTo>
                  <a:lnTo>
                    <a:pt x="0" y="1144"/>
                  </a:lnTo>
                  <a:lnTo>
                    <a:pt x="0" y="1144"/>
                  </a:lnTo>
                  <a:lnTo>
                    <a:pt x="1" y="1161"/>
                  </a:lnTo>
                  <a:lnTo>
                    <a:pt x="3" y="1178"/>
                  </a:lnTo>
                  <a:lnTo>
                    <a:pt x="7" y="1194"/>
                  </a:lnTo>
                  <a:lnTo>
                    <a:pt x="12" y="1211"/>
                  </a:lnTo>
                  <a:lnTo>
                    <a:pt x="20" y="1225"/>
                  </a:lnTo>
                  <a:lnTo>
                    <a:pt x="29" y="1239"/>
                  </a:lnTo>
                  <a:lnTo>
                    <a:pt x="38" y="1253"/>
                  </a:lnTo>
                  <a:lnTo>
                    <a:pt x="50" y="1265"/>
                  </a:lnTo>
                  <a:lnTo>
                    <a:pt x="62" y="1276"/>
                  </a:lnTo>
                  <a:lnTo>
                    <a:pt x="75" y="1286"/>
                  </a:lnTo>
                  <a:lnTo>
                    <a:pt x="89" y="1295"/>
                  </a:lnTo>
                  <a:lnTo>
                    <a:pt x="105" y="1302"/>
                  </a:lnTo>
                  <a:lnTo>
                    <a:pt x="120" y="1308"/>
                  </a:lnTo>
                  <a:lnTo>
                    <a:pt x="136" y="1312"/>
                  </a:lnTo>
                  <a:lnTo>
                    <a:pt x="153" y="1315"/>
                  </a:lnTo>
                  <a:lnTo>
                    <a:pt x="171" y="1316"/>
                  </a:lnTo>
                  <a:lnTo>
                    <a:pt x="640" y="1316"/>
                  </a:lnTo>
                  <a:lnTo>
                    <a:pt x="640" y="1316"/>
                  </a:lnTo>
                  <a:lnTo>
                    <a:pt x="658" y="1315"/>
                  </a:lnTo>
                  <a:lnTo>
                    <a:pt x="674" y="1312"/>
                  </a:lnTo>
                  <a:lnTo>
                    <a:pt x="691" y="1308"/>
                  </a:lnTo>
                  <a:lnTo>
                    <a:pt x="706" y="1302"/>
                  </a:lnTo>
                  <a:lnTo>
                    <a:pt x="722" y="1295"/>
                  </a:lnTo>
                  <a:lnTo>
                    <a:pt x="736" y="1286"/>
                  </a:lnTo>
                  <a:lnTo>
                    <a:pt x="749" y="1276"/>
                  </a:lnTo>
                  <a:lnTo>
                    <a:pt x="762" y="1265"/>
                  </a:lnTo>
                  <a:lnTo>
                    <a:pt x="772" y="1253"/>
                  </a:lnTo>
                  <a:lnTo>
                    <a:pt x="782" y="1239"/>
                  </a:lnTo>
                  <a:lnTo>
                    <a:pt x="791" y="1225"/>
                  </a:lnTo>
                  <a:lnTo>
                    <a:pt x="798" y="1211"/>
                  </a:lnTo>
                  <a:lnTo>
                    <a:pt x="804" y="1194"/>
                  </a:lnTo>
                  <a:lnTo>
                    <a:pt x="808" y="1178"/>
                  </a:lnTo>
                  <a:lnTo>
                    <a:pt x="810" y="1161"/>
                  </a:lnTo>
                  <a:lnTo>
                    <a:pt x="811" y="1144"/>
                  </a:lnTo>
                  <a:lnTo>
                    <a:pt x="811" y="172"/>
                  </a:lnTo>
                  <a:lnTo>
                    <a:pt x="811" y="172"/>
                  </a:lnTo>
                  <a:lnTo>
                    <a:pt x="810" y="154"/>
                  </a:lnTo>
                  <a:lnTo>
                    <a:pt x="808" y="137"/>
                  </a:lnTo>
                  <a:lnTo>
                    <a:pt x="804" y="121"/>
                  </a:lnTo>
                  <a:lnTo>
                    <a:pt x="798" y="104"/>
                  </a:lnTo>
                  <a:lnTo>
                    <a:pt x="791" y="90"/>
                  </a:lnTo>
                  <a:lnTo>
                    <a:pt x="782" y="76"/>
                  </a:lnTo>
                  <a:lnTo>
                    <a:pt x="772" y="63"/>
                  </a:lnTo>
                  <a:lnTo>
                    <a:pt x="762" y="50"/>
                  </a:lnTo>
                  <a:lnTo>
                    <a:pt x="749" y="39"/>
                  </a:lnTo>
                  <a:lnTo>
                    <a:pt x="736" y="29"/>
                  </a:lnTo>
                  <a:lnTo>
                    <a:pt x="722" y="20"/>
                  </a:lnTo>
                  <a:lnTo>
                    <a:pt x="706" y="13"/>
                  </a:lnTo>
                  <a:lnTo>
                    <a:pt x="691" y="8"/>
                  </a:lnTo>
                  <a:lnTo>
                    <a:pt x="674" y="4"/>
                  </a:lnTo>
                  <a:lnTo>
                    <a:pt x="658" y="0"/>
                  </a:lnTo>
                  <a:lnTo>
                    <a:pt x="640" y="0"/>
                  </a:lnTo>
                  <a:lnTo>
                    <a:pt x="640" y="0"/>
                  </a:lnTo>
                  <a:close/>
                  <a:moveTo>
                    <a:pt x="355" y="1074"/>
                  </a:moveTo>
                  <a:lnTo>
                    <a:pt x="355" y="1074"/>
                  </a:lnTo>
                  <a:lnTo>
                    <a:pt x="355" y="1080"/>
                  </a:lnTo>
                  <a:lnTo>
                    <a:pt x="352" y="1086"/>
                  </a:lnTo>
                  <a:lnTo>
                    <a:pt x="350" y="1091"/>
                  </a:lnTo>
                  <a:lnTo>
                    <a:pt x="346" y="1095"/>
                  </a:lnTo>
                  <a:lnTo>
                    <a:pt x="342" y="1099"/>
                  </a:lnTo>
                  <a:lnTo>
                    <a:pt x="337" y="1101"/>
                  </a:lnTo>
                  <a:lnTo>
                    <a:pt x="331" y="1104"/>
                  </a:lnTo>
                  <a:lnTo>
                    <a:pt x="325" y="1104"/>
                  </a:lnTo>
                  <a:lnTo>
                    <a:pt x="164" y="1104"/>
                  </a:lnTo>
                  <a:lnTo>
                    <a:pt x="164" y="1104"/>
                  </a:lnTo>
                  <a:lnTo>
                    <a:pt x="158" y="1104"/>
                  </a:lnTo>
                  <a:lnTo>
                    <a:pt x="152" y="1101"/>
                  </a:lnTo>
                  <a:lnTo>
                    <a:pt x="147" y="1099"/>
                  </a:lnTo>
                  <a:lnTo>
                    <a:pt x="142" y="1095"/>
                  </a:lnTo>
                  <a:lnTo>
                    <a:pt x="139" y="1091"/>
                  </a:lnTo>
                  <a:lnTo>
                    <a:pt x="136" y="1086"/>
                  </a:lnTo>
                  <a:lnTo>
                    <a:pt x="134" y="1080"/>
                  </a:lnTo>
                  <a:lnTo>
                    <a:pt x="134" y="1074"/>
                  </a:lnTo>
                  <a:lnTo>
                    <a:pt x="134" y="940"/>
                  </a:lnTo>
                  <a:lnTo>
                    <a:pt x="134" y="940"/>
                  </a:lnTo>
                  <a:lnTo>
                    <a:pt x="134" y="934"/>
                  </a:lnTo>
                  <a:lnTo>
                    <a:pt x="136" y="928"/>
                  </a:lnTo>
                  <a:lnTo>
                    <a:pt x="139" y="922"/>
                  </a:lnTo>
                  <a:lnTo>
                    <a:pt x="142" y="918"/>
                  </a:lnTo>
                  <a:lnTo>
                    <a:pt x="147" y="915"/>
                  </a:lnTo>
                  <a:lnTo>
                    <a:pt x="152" y="911"/>
                  </a:lnTo>
                  <a:lnTo>
                    <a:pt x="158" y="910"/>
                  </a:lnTo>
                  <a:lnTo>
                    <a:pt x="164" y="909"/>
                  </a:lnTo>
                  <a:lnTo>
                    <a:pt x="325" y="909"/>
                  </a:lnTo>
                  <a:lnTo>
                    <a:pt x="325" y="909"/>
                  </a:lnTo>
                  <a:lnTo>
                    <a:pt x="331" y="910"/>
                  </a:lnTo>
                  <a:lnTo>
                    <a:pt x="337" y="911"/>
                  </a:lnTo>
                  <a:lnTo>
                    <a:pt x="342" y="915"/>
                  </a:lnTo>
                  <a:lnTo>
                    <a:pt x="346" y="918"/>
                  </a:lnTo>
                  <a:lnTo>
                    <a:pt x="350" y="922"/>
                  </a:lnTo>
                  <a:lnTo>
                    <a:pt x="352" y="928"/>
                  </a:lnTo>
                  <a:lnTo>
                    <a:pt x="355" y="934"/>
                  </a:lnTo>
                  <a:lnTo>
                    <a:pt x="355" y="940"/>
                  </a:lnTo>
                  <a:lnTo>
                    <a:pt x="355" y="1074"/>
                  </a:lnTo>
                  <a:close/>
                  <a:moveTo>
                    <a:pt x="355" y="725"/>
                  </a:moveTo>
                  <a:lnTo>
                    <a:pt x="355" y="725"/>
                  </a:lnTo>
                  <a:lnTo>
                    <a:pt x="355" y="731"/>
                  </a:lnTo>
                  <a:lnTo>
                    <a:pt x="352" y="737"/>
                  </a:lnTo>
                  <a:lnTo>
                    <a:pt x="350" y="741"/>
                  </a:lnTo>
                  <a:lnTo>
                    <a:pt x="346" y="746"/>
                  </a:lnTo>
                  <a:lnTo>
                    <a:pt x="342" y="750"/>
                  </a:lnTo>
                  <a:lnTo>
                    <a:pt x="337" y="753"/>
                  </a:lnTo>
                  <a:lnTo>
                    <a:pt x="331" y="754"/>
                  </a:lnTo>
                  <a:lnTo>
                    <a:pt x="325" y="756"/>
                  </a:lnTo>
                  <a:lnTo>
                    <a:pt x="164" y="756"/>
                  </a:lnTo>
                  <a:lnTo>
                    <a:pt x="164" y="756"/>
                  </a:lnTo>
                  <a:lnTo>
                    <a:pt x="158" y="754"/>
                  </a:lnTo>
                  <a:lnTo>
                    <a:pt x="152" y="753"/>
                  </a:lnTo>
                  <a:lnTo>
                    <a:pt x="147" y="750"/>
                  </a:lnTo>
                  <a:lnTo>
                    <a:pt x="142" y="746"/>
                  </a:lnTo>
                  <a:lnTo>
                    <a:pt x="139" y="741"/>
                  </a:lnTo>
                  <a:lnTo>
                    <a:pt x="136" y="737"/>
                  </a:lnTo>
                  <a:lnTo>
                    <a:pt x="134" y="731"/>
                  </a:lnTo>
                  <a:lnTo>
                    <a:pt x="134" y="725"/>
                  </a:lnTo>
                  <a:lnTo>
                    <a:pt x="134" y="590"/>
                  </a:lnTo>
                  <a:lnTo>
                    <a:pt x="134" y="590"/>
                  </a:lnTo>
                  <a:lnTo>
                    <a:pt x="134" y="584"/>
                  </a:lnTo>
                  <a:lnTo>
                    <a:pt x="136" y="579"/>
                  </a:lnTo>
                  <a:lnTo>
                    <a:pt x="139" y="574"/>
                  </a:lnTo>
                  <a:lnTo>
                    <a:pt x="142" y="569"/>
                  </a:lnTo>
                  <a:lnTo>
                    <a:pt x="147" y="566"/>
                  </a:lnTo>
                  <a:lnTo>
                    <a:pt x="152" y="563"/>
                  </a:lnTo>
                  <a:lnTo>
                    <a:pt x="158" y="561"/>
                  </a:lnTo>
                  <a:lnTo>
                    <a:pt x="164" y="561"/>
                  </a:lnTo>
                  <a:lnTo>
                    <a:pt x="325" y="561"/>
                  </a:lnTo>
                  <a:lnTo>
                    <a:pt x="325" y="561"/>
                  </a:lnTo>
                  <a:lnTo>
                    <a:pt x="331" y="561"/>
                  </a:lnTo>
                  <a:lnTo>
                    <a:pt x="337" y="563"/>
                  </a:lnTo>
                  <a:lnTo>
                    <a:pt x="342" y="566"/>
                  </a:lnTo>
                  <a:lnTo>
                    <a:pt x="346" y="569"/>
                  </a:lnTo>
                  <a:lnTo>
                    <a:pt x="350" y="574"/>
                  </a:lnTo>
                  <a:lnTo>
                    <a:pt x="352" y="579"/>
                  </a:lnTo>
                  <a:lnTo>
                    <a:pt x="355" y="584"/>
                  </a:lnTo>
                  <a:lnTo>
                    <a:pt x="355" y="590"/>
                  </a:lnTo>
                  <a:lnTo>
                    <a:pt x="355" y="725"/>
                  </a:lnTo>
                  <a:close/>
                  <a:moveTo>
                    <a:pt x="355" y="377"/>
                  </a:moveTo>
                  <a:lnTo>
                    <a:pt x="355" y="377"/>
                  </a:lnTo>
                  <a:lnTo>
                    <a:pt x="355" y="383"/>
                  </a:lnTo>
                  <a:lnTo>
                    <a:pt x="352" y="387"/>
                  </a:lnTo>
                  <a:lnTo>
                    <a:pt x="350" y="393"/>
                  </a:lnTo>
                  <a:lnTo>
                    <a:pt x="346" y="397"/>
                  </a:lnTo>
                  <a:lnTo>
                    <a:pt x="342" y="402"/>
                  </a:lnTo>
                  <a:lnTo>
                    <a:pt x="337" y="404"/>
                  </a:lnTo>
                  <a:lnTo>
                    <a:pt x="331" y="405"/>
                  </a:lnTo>
                  <a:lnTo>
                    <a:pt x="325" y="406"/>
                  </a:lnTo>
                  <a:lnTo>
                    <a:pt x="164" y="406"/>
                  </a:lnTo>
                  <a:lnTo>
                    <a:pt x="164" y="406"/>
                  </a:lnTo>
                  <a:lnTo>
                    <a:pt x="158" y="405"/>
                  </a:lnTo>
                  <a:lnTo>
                    <a:pt x="152" y="404"/>
                  </a:lnTo>
                  <a:lnTo>
                    <a:pt x="147" y="402"/>
                  </a:lnTo>
                  <a:lnTo>
                    <a:pt x="142" y="397"/>
                  </a:lnTo>
                  <a:lnTo>
                    <a:pt x="139" y="393"/>
                  </a:lnTo>
                  <a:lnTo>
                    <a:pt x="136" y="387"/>
                  </a:lnTo>
                  <a:lnTo>
                    <a:pt x="134" y="383"/>
                  </a:lnTo>
                  <a:lnTo>
                    <a:pt x="134" y="377"/>
                  </a:lnTo>
                  <a:lnTo>
                    <a:pt x="134" y="241"/>
                  </a:lnTo>
                  <a:lnTo>
                    <a:pt x="134" y="241"/>
                  </a:lnTo>
                  <a:lnTo>
                    <a:pt x="134" y="235"/>
                  </a:lnTo>
                  <a:lnTo>
                    <a:pt x="136" y="230"/>
                  </a:lnTo>
                  <a:lnTo>
                    <a:pt x="139" y="225"/>
                  </a:lnTo>
                  <a:lnTo>
                    <a:pt x="142" y="220"/>
                  </a:lnTo>
                  <a:lnTo>
                    <a:pt x="147" y="216"/>
                  </a:lnTo>
                  <a:lnTo>
                    <a:pt x="152" y="214"/>
                  </a:lnTo>
                  <a:lnTo>
                    <a:pt x="158" y="213"/>
                  </a:lnTo>
                  <a:lnTo>
                    <a:pt x="164" y="212"/>
                  </a:lnTo>
                  <a:lnTo>
                    <a:pt x="325" y="212"/>
                  </a:lnTo>
                  <a:lnTo>
                    <a:pt x="325" y="212"/>
                  </a:lnTo>
                  <a:lnTo>
                    <a:pt x="331" y="213"/>
                  </a:lnTo>
                  <a:lnTo>
                    <a:pt x="337" y="214"/>
                  </a:lnTo>
                  <a:lnTo>
                    <a:pt x="342" y="216"/>
                  </a:lnTo>
                  <a:lnTo>
                    <a:pt x="346" y="220"/>
                  </a:lnTo>
                  <a:lnTo>
                    <a:pt x="350" y="225"/>
                  </a:lnTo>
                  <a:lnTo>
                    <a:pt x="352" y="230"/>
                  </a:lnTo>
                  <a:lnTo>
                    <a:pt x="355" y="235"/>
                  </a:lnTo>
                  <a:lnTo>
                    <a:pt x="355" y="241"/>
                  </a:lnTo>
                  <a:lnTo>
                    <a:pt x="355" y="377"/>
                  </a:lnTo>
                  <a:close/>
                  <a:moveTo>
                    <a:pt x="677" y="1074"/>
                  </a:moveTo>
                  <a:lnTo>
                    <a:pt x="677" y="1074"/>
                  </a:lnTo>
                  <a:lnTo>
                    <a:pt x="677" y="1080"/>
                  </a:lnTo>
                  <a:lnTo>
                    <a:pt x="674" y="1086"/>
                  </a:lnTo>
                  <a:lnTo>
                    <a:pt x="672" y="1091"/>
                  </a:lnTo>
                  <a:lnTo>
                    <a:pt x="668" y="1095"/>
                  </a:lnTo>
                  <a:lnTo>
                    <a:pt x="664" y="1099"/>
                  </a:lnTo>
                  <a:lnTo>
                    <a:pt x="659" y="1101"/>
                  </a:lnTo>
                  <a:lnTo>
                    <a:pt x="653" y="1104"/>
                  </a:lnTo>
                  <a:lnTo>
                    <a:pt x="647" y="1104"/>
                  </a:lnTo>
                  <a:lnTo>
                    <a:pt x="486" y="1104"/>
                  </a:lnTo>
                  <a:lnTo>
                    <a:pt x="486" y="1104"/>
                  </a:lnTo>
                  <a:lnTo>
                    <a:pt x="480" y="1104"/>
                  </a:lnTo>
                  <a:lnTo>
                    <a:pt x="474" y="1101"/>
                  </a:lnTo>
                  <a:lnTo>
                    <a:pt x="469" y="1099"/>
                  </a:lnTo>
                  <a:lnTo>
                    <a:pt x="464" y="1095"/>
                  </a:lnTo>
                  <a:lnTo>
                    <a:pt x="461" y="1091"/>
                  </a:lnTo>
                  <a:lnTo>
                    <a:pt x="458" y="1086"/>
                  </a:lnTo>
                  <a:lnTo>
                    <a:pt x="456" y="1080"/>
                  </a:lnTo>
                  <a:lnTo>
                    <a:pt x="456" y="1074"/>
                  </a:lnTo>
                  <a:lnTo>
                    <a:pt x="456" y="940"/>
                  </a:lnTo>
                  <a:lnTo>
                    <a:pt x="456" y="940"/>
                  </a:lnTo>
                  <a:lnTo>
                    <a:pt x="456" y="934"/>
                  </a:lnTo>
                  <a:lnTo>
                    <a:pt x="458" y="928"/>
                  </a:lnTo>
                  <a:lnTo>
                    <a:pt x="461" y="922"/>
                  </a:lnTo>
                  <a:lnTo>
                    <a:pt x="464" y="918"/>
                  </a:lnTo>
                  <a:lnTo>
                    <a:pt x="469" y="915"/>
                  </a:lnTo>
                  <a:lnTo>
                    <a:pt x="474" y="911"/>
                  </a:lnTo>
                  <a:lnTo>
                    <a:pt x="480" y="910"/>
                  </a:lnTo>
                  <a:lnTo>
                    <a:pt x="486" y="909"/>
                  </a:lnTo>
                  <a:lnTo>
                    <a:pt x="647" y="909"/>
                  </a:lnTo>
                  <a:lnTo>
                    <a:pt x="647" y="909"/>
                  </a:lnTo>
                  <a:lnTo>
                    <a:pt x="653" y="910"/>
                  </a:lnTo>
                  <a:lnTo>
                    <a:pt x="659" y="911"/>
                  </a:lnTo>
                  <a:lnTo>
                    <a:pt x="664" y="915"/>
                  </a:lnTo>
                  <a:lnTo>
                    <a:pt x="668" y="918"/>
                  </a:lnTo>
                  <a:lnTo>
                    <a:pt x="672" y="922"/>
                  </a:lnTo>
                  <a:lnTo>
                    <a:pt x="674" y="928"/>
                  </a:lnTo>
                  <a:lnTo>
                    <a:pt x="677" y="934"/>
                  </a:lnTo>
                  <a:lnTo>
                    <a:pt x="677" y="940"/>
                  </a:lnTo>
                  <a:lnTo>
                    <a:pt x="677" y="1074"/>
                  </a:lnTo>
                  <a:close/>
                  <a:moveTo>
                    <a:pt x="677" y="725"/>
                  </a:moveTo>
                  <a:lnTo>
                    <a:pt x="677" y="725"/>
                  </a:lnTo>
                  <a:lnTo>
                    <a:pt x="677" y="731"/>
                  </a:lnTo>
                  <a:lnTo>
                    <a:pt x="674" y="737"/>
                  </a:lnTo>
                  <a:lnTo>
                    <a:pt x="672" y="741"/>
                  </a:lnTo>
                  <a:lnTo>
                    <a:pt x="668" y="746"/>
                  </a:lnTo>
                  <a:lnTo>
                    <a:pt x="664" y="750"/>
                  </a:lnTo>
                  <a:lnTo>
                    <a:pt x="659" y="753"/>
                  </a:lnTo>
                  <a:lnTo>
                    <a:pt x="653" y="754"/>
                  </a:lnTo>
                  <a:lnTo>
                    <a:pt x="647" y="756"/>
                  </a:lnTo>
                  <a:lnTo>
                    <a:pt x="486" y="756"/>
                  </a:lnTo>
                  <a:lnTo>
                    <a:pt x="486" y="756"/>
                  </a:lnTo>
                  <a:lnTo>
                    <a:pt x="480" y="754"/>
                  </a:lnTo>
                  <a:lnTo>
                    <a:pt x="474" y="753"/>
                  </a:lnTo>
                  <a:lnTo>
                    <a:pt x="469" y="750"/>
                  </a:lnTo>
                  <a:lnTo>
                    <a:pt x="464" y="746"/>
                  </a:lnTo>
                  <a:lnTo>
                    <a:pt x="461" y="741"/>
                  </a:lnTo>
                  <a:lnTo>
                    <a:pt x="458" y="737"/>
                  </a:lnTo>
                  <a:lnTo>
                    <a:pt x="456" y="731"/>
                  </a:lnTo>
                  <a:lnTo>
                    <a:pt x="456" y="725"/>
                  </a:lnTo>
                  <a:lnTo>
                    <a:pt x="456" y="590"/>
                  </a:lnTo>
                  <a:lnTo>
                    <a:pt x="456" y="590"/>
                  </a:lnTo>
                  <a:lnTo>
                    <a:pt x="456" y="584"/>
                  </a:lnTo>
                  <a:lnTo>
                    <a:pt x="458" y="579"/>
                  </a:lnTo>
                  <a:lnTo>
                    <a:pt x="461" y="574"/>
                  </a:lnTo>
                  <a:lnTo>
                    <a:pt x="464" y="569"/>
                  </a:lnTo>
                  <a:lnTo>
                    <a:pt x="469" y="566"/>
                  </a:lnTo>
                  <a:lnTo>
                    <a:pt x="474" y="563"/>
                  </a:lnTo>
                  <a:lnTo>
                    <a:pt x="480" y="561"/>
                  </a:lnTo>
                  <a:lnTo>
                    <a:pt x="486" y="561"/>
                  </a:lnTo>
                  <a:lnTo>
                    <a:pt x="647" y="561"/>
                  </a:lnTo>
                  <a:lnTo>
                    <a:pt x="647" y="561"/>
                  </a:lnTo>
                  <a:lnTo>
                    <a:pt x="653" y="561"/>
                  </a:lnTo>
                  <a:lnTo>
                    <a:pt x="659" y="563"/>
                  </a:lnTo>
                  <a:lnTo>
                    <a:pt x="664" y="566"/>
                  </a:lnTo>
                  <a:lnTo>
                    <a:pt x="668" y="569"/>
                  </a:lnTo>
                  <a:lnTo>
                    <a:pt x="672" y="574"/>
                  </a:lnTo>
                  <a:lnTo>
                    <a:pt x="674" y="579"/>
                  </a:lnTo>
                  <a:lnTo>
                    <a:pt x="677" y="584"/>
                  </a:lnTo>
                  <a:lnTo>
                    <a:pt x="677" y="590"/>
                  </a:lnTo>
                  <a:lnTo>
                    <a:pt x="677" y="725"/>
                  </a:lnTo>
                  <a:close/>
                  <a:moveTo>
                    <a:pt x="677" y="377"/>
                  </a:moveTo>
                  <a:lnTo>
                    <a:pt x="677" y="377"/>
                  </a:lnTo>
                  <a:lnTo>
                    <a:pt x="677" y="383"/>
                  </a:lnTo>
                  <a:lnTo>
                    <a:pt x="674" y="387"/>
                  </a:lnTo>
                  <a:lnTo>
                    <a:pt x="672" y="393"/>
                  </a:lnTo>
                  <a:lnTo>
                    <a:pt x="668" y="397"/>
                  </a:lnTo>
                  <a:lnTo>
                    <a:pt x="664" y="402"/>
                  </a:lnTo>
                  <a:lnTo>
                    <a:pt x="659" y="404"/>
                  </a:lnTo>
                  <a:lnTo>
                    <a:pt x="653" y="405"/>
                  </a:lnTo>
                  <a:lnTo>
                    <a:pt x="647" y="406"/>
                  </a:lnTo>
                  <a:lnTo>
                    <a:pt x="486" y="406"/>
                  </a:lnTo>
                  <a:lnTo>
                    <a:pt x="486" y="406"/>
                  </a:lnTo>
                  <a:lnTo>
                    <a:pt x="480" y="405"/>
                  </a:lnTo>
                  <a:lnTo>
                    <a:pt x="474" y="404"/>
                  </a:lnTo>
                  <a:lnTo>
                    <a:pt x="469" y="402"/>
                  </a:lnTo>
                  <a:lnTo>
                    <a:pt x="464" y="397"/>
                  </a:lnTo>
                  <a:lnTo>
                    <a:pt x="461" y="393"/>
                  </a:lnTo>
                  <a:lnTo>
                    <a:pt x="458" y="387"/>
                  </a:lnTo>
                  <a:lnTo>
                    <a:pt x="456" y="383"/>
                  </a:lnTo>
                  <a:lnTo>
                    <a:pt x="456" y="377"/>
                  </a:lnTo>
                  <a:lnTo>
                    <a:pt x="456" y="241"/>
                  </a:lnTo>
                  <a:lnTo>
                    <a:pt x="456" y="241"/>
                  </a:lnTo>
                  <a:lnTo>
                    <a:pt x="456" y="235"/>
                  </a:lnTo>
                  <a:lnTo>
                    <a:pt x="458" y="230"/>
                  </a:lnTo>
                  <a:lnTo>
                    <a:pt x="461" y="225"/>
                  </a:lnTo>
                  <a:lnTo>
                    <a:pt x="464" y="220"/>
                  </a:lnTo>
                  <a:lnTo>
                    <a:pt x="469" y="216"/>
                  </a:lnTo>
                  <a:lnTo>
                    <a:pt x="474" y="214"/>
                  </a:lnTo>
                  <a:lnTo>
                    <a:pt x="480" y="213"/>
                  </a:lnTo>
                  <a:lnTo>
                    <a:pt x="486" y="212"/>
                  </a:lnTo>
                  <a:lnTo>
                    <a:pt x="647" y="212"/>
                  </a:lnTo>
                  <a:lnTo>
                    <a:pt x="647" y="212"/>
                  </a:lnTo>
                  <a:lnTo>
                    <a:pt x="653" y="213"/>
                  </a:lnTo>
                  <a:lnTo>
                    <a:pt x="659" y="214"/>
                  </a:lnTo>
                  <a:lnTo>
                    <a:pt x="664" y="216"/>
                  </a:lnTo>
                  <a:lnTo>
                    <a:pt x="668" y="220"/>
                  </a:lnTo>
                  <a:lnTo>
                    <a:pt x="672" y="225"/>
                  </a:lnTo>
                  <a:lnTo>
                    <a:pt x="674" y="230"/>
                  </a:lnTo>
                  <a:lnTo>
                    <a:pt x="677" y="235"/>
                  </a:lnTo>
                  <a:lnTo>
                    <a:pt x="677" y="241"/>
                  </a:lnTo>
                  <a:lnTo>
                    <a:pt x="677" y="3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8" name="Freeform 80">
              <a:extLst>
                <a:ext uri="{FF2B5EF4-FFF2-40B4-BE49-F238E27FC236}">
                  <a16:creationId xmlns:a16="http://schemas.microsoft.com/office/drawing/2014/main" id="{09478102-BDA2-425C-AE6C-DE3D4DEB0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56613" y="4022725"/>
              <a:ext cx="433388" cy="946150"/>
            </a:xfrm>
            <a:custGeom>
              <a:avLst/>
              <a:gdLst/>
              <a:ahLst/>
              <a:cxnLst>
                <a:cxn ang="0">
                  <a:pos x="525" y="975"/>
                </a:cxn>
                <a:cxn ang="0">
                  <a:pos x="555" y="1010"/>
                </a:cxn>
                <a:cxn ang="0">
                  <a:pos x="592" y="1036"/>
                </a:cxn>
                <a:cxn ang="0">
                  <a:pos x="636" y="1050"/>
                </a:cxn>
                <a:cxn ang="0">
                  <a:pos x="677" y="1051"/>
                </a:cxn>
                <a:cxn ang="0">
                  <a:pos x="735" y="1032"/>
                </a:cxn>
                <a:cxn ang="0">
                  <a:pos x="782" y="995"/>
                </a:cxn>
                <a:cxn ang="0">
                  <a:pos x="811" y="942"/>
                </a:cxn>
                <a:cxn ang="0">
                  <a:pos x="818" y="894"/>
                </a:cxn>
                <a:cxn ang="0">
                  <a:pos x="806" y="833"/>
                </a:cxn>
                <a:cxn ang="0">
                  <a:pos x="772" y="784"/>
                </a:cxn>
                <a:cxn ang="0">
                  <a:pos x="722" y="749"/>
                </a:cxn>
                <a:cxn ang="0">
                  <a:pos x="661" y="738"/>
                </a:cxn>
                <a:cxn ang="0">
                  <a:pos x="625" y="741"/>
                </a:cxn>
                <a:cxn ang="0">
                  <a:pos x="582" y="759"/>
                </a:cxn>
                <a:cxn ang="0">
                  <a:pos x="546" y="787"/>
                </a:cxn>
                <a:cxn ang="0">
                  <a:pos x="520" y="824"/>
                </a:cxn>
                <a:cxn ang="0">
                  <a:pos x="516" y="217"/>
                </a:cxn>
                <a:cxn ang="0">
                  <a:pos x="532" y="247"/>
                </a:cxn>
                <a:cxn ang="0">
                  <a:pos x="563" y="280"/>
                </a:cxn>
                <a:cxn ang="0">
                  <a:pos x="603" y="303"/>
                </a:cxn>
                <a:cxn ang="0">
                  <a:pos x="649" y="314"/>
                </a:cxn>
                <a:cxn ang="0">
                  <a:pos x="693" y="310"/>
                </a:cxn>
                <a:cxn ang="0">
                  <a:pos x="748" y="287"/>
                </a:cxn>
                <a:cxn ang="0">
                  <a:pos x="790" y="244"/>
                </a:cxn>
                <a:cxn ang="0">
                  <a:pos x="814" y="189"/>
                </a:cxn>
                <a:cxn ang="0">
                  <a:pos x="818" y="141"/>
                </a:cxn>
                <a:cxn ang="0">
                  <a:pos x="799" y="82"/>
                </a:cxn>
                <a:cxn ang="0">
                  <a:pos x="761" y="36"/>
                </a:cxn>
                <a:cxn ang="0">
                  <a:pos x="708" y="7"/>
                </a:cxn>
                <a:cxn ang="0">
                  <a:pos x="661" y="0"/>
                </a:cxn>
                <a:cxn ang="0">
                  <a:pos x="614" y="7"/>
                </a:cxn>
                <a:cxn ang="0">
                  <a:pos x="572" y="27"/>
                </a:cxn>
                <a:cxn ang="0">
                  <a:pos x="539" y="58"/>
                </a:cxn>
                <a:cxn ang="0">
                  <a:pos x="516" y="97"/>
                </a:cxn>
                <a:cxn ang="0">
                  <a:pos x="245" y="97"/>
                </a:cxn>
                <a:cxn ang="0">
                  <a:pos x="225" y="106"/>
                </a:cxn>
                <a:cxn ang="0">
                  <a:pos x="217" y="131"/>
                </a:cxn>
                <a:cxn ang="0">
                  <a:pos x="0" y="834"/>
                </a:cxn>
                <a:cxn ang="0">
                  <a:pos x="217" y="1607"/>
                </a:cxn>
                <a:cxn ang="0">
                  <a:pos x="219" y="1672"/>
                </a:cxn>
                <a:cxn ang="0">
                  <a:pos x="235" y="1690"/>
                </a:cxn>
                <a:cxn ang="0">
                  <a:pos x="303" y="1692"/>
                </a:cxn>
                <a:cxn ang="0">
                  <a:pos x="525" y="1713"/>
                </a:cxn>
                <a:cxn ang="0">
                  <a:pos x="555" y="1749"/>
                </a:cxn>
                <a:cxn ang="0">
                  <a:pos x="592" y="1773"/>
                </a:cxn>
                <a:cxn ang="0">
                  <a:pos x="636" y="1788"/>
                </a:cxn>
                <a:cxn ang="0">
                  <a:pos x="677" y="1789"/>
                </a:cxn>
                <a:cxn ang="0">
                  <a:pos x="735" y="1771"/>
                </a:cxn>
                <a:cxn ang="0">
                  <a:pos x="782" y="1732"/>
                </a:cxn>
                <a:cxn ang="0">
                  <a:pos x="811" y="1679"/>
                </a:cxn>
                <a:cxn ang="0">
                  <a:pos x="818" y="1632"/>
                </a:cxn>
                <a:cxn ang="0">
                  <a:pos x="806" y="1572"/>
                </a:cxn>
                <a:cxn ang="0">
                  <a:pos x="772" y="1521"/>
                </a:cxn>
                <a:cxn ang="0">
                  <a:pos x="722" y="1488"/>
                </a:cxn>
                <a:cxn ang="0">
                  <a:pos x="661" y="1475"/>
                </a:cxn>
                <a:cxn ang="0">
                  <a:pos x="625" y="1480"/>
                </a:cxn>
                <a:cxn ang="0">
                  <a:pos x="582" y="1496"/>
                </a:cxn>
                <a:cxn ang="0">
                  <a:pos x="546" y="1524"/>
                </a:cxn>
                <a:cxn ang="0">
                  <a:pos x="520" y="1562"/>
                </a:cxn>
                <a:cxn ang="0">
                  <a:pos x="516" y="955"/>
                </a:cxn>
              </a:cxnLst>
              <a:rect l="0" t="0" r="r" b="b"/>
              <a:pathLst>
                <a:path w="818" h="1790">
                  <a:moveTo>
                    <a:pt x="516" y="955"/>
                  </a:moveTo>
                  <a:lnTo>
                    <a:pt x="516" y="955"/>
                  </a:lnTo>
                  <a:lnTo>
                    <a:pt x="520" y="965"/>
                  </a:lnTo>
                  <a:lnTo>
                    <a:pt x="525" y="975"/>
                  </a:lnTo>
                  <a:lnTo>
                    <a:pt x="532" y="985"/>
                  </a:lnTo>
                  <a:lnTo>
                    <a:pt x="539" y="994"/>
                  </a:lnTo>
                  <a:lnTo>
                    <a:pt x="546" y="1003"/>
                  </a:lnTo>
                  <a:lnTo>
                    <a:pt x="555" y="1010"/>
                  </a:lnTo>
                  <a:lnTo>
                    <a:pt x="563" y="1018"/>
                  </a:lnTo>
                  <a:lnTo>
                    <a:pt x="572" y="1024"/>
                  </a:lnTo>
                  <a:lnTo>
                    <a:pt x="582" y="1031"/>
                  </a:lnTo>
                  <a:lnTo>
                    <a:pt x="592" y="1036"/>
                  </a:lnTo>
                  <a:lnTo>
                    <a:pt x="603" y="1041"/>
                  </a:lnTo>
                  <a:lnTo>
                    <a:pt x="614" y="1044"/>
                  </a:lnTo>
                  <a:lnTo>
                    <a:pt x="625" y="1048"/>
                  </a:lnTo>
                  <a:lnTo>
                    <a:pt x="636" y="1050"/>
                  </a:lnTo>
                  <a:lnTo>
                    <a:pt x="649" y="1051"/>
                  </a:lnTo>
                  <a:lnTo>
                    <a:pt x="661" y="1051"/>
                  </a:lnTo>
                  <a:lnTo>
                    <a:pt x="661" y="1051"/>
                  </a:lnTo>
                  <a:lnTo>
                    <a:pt x="677" y="1051"/>
                  </a:lnTo>
                  <a:lnTo>
                    <a:pt x="693" y="1049"/>
                  </a:lnTo>
                  <a:lnTo>
                    <a:pt x="708" y="1044"/>
                  </a:lnTo>
                  <a:lnTo>
                    <a:pt x="722" y="1040"/>
                  </a:lnTo>
                  <a:lnTo>
                    <a:pt x="735" y="1032"/>
                  </a:lnTo>
                  <a:lnTo>
                    <a:pt x="748" y="1025"/>
                  </a:lnTo>
                  <a:lnTo>
                    <a:pt x="761" y="1016"/>
                  </a:lnTo>
                  <a:lnTo>
                    <a:pt x="772" y="1005"/>
                  </a:lnTo>
                  <a:lnTo>
                    <a:pt x="782" y="995"/>
                  </a:lnTo>
                  <a:lnTo>
                    <a:pt x="790" y="983"/>
                  </a:lnTo>
                  <a:lnTo>
                    <a:pt x="799" y="970"/>
                  </a:lnTo>
                  <a:lnTo>
                    <a:pt x="806" y="956"/>
                  </a:lnTo>
                  <a:lnTo>
                    <a:pt x="811" y="942"/>
                  </a:lnTo>
                  <a:lnTo>
                    <a:pt x="814" y="926"/>
                  </a:lnTo>
                  <a:lnTo>
                    <a:pt x="818" y="911"/>
                  </a:lnTo>
                  <a:lnTo>
                    <a:pt x="818" y="894"/>
                  </a:lnTo>
                  <a:lnTo>
                    <a:pt x="818" y="894"/>
                  </a:lnTo>
                  <a:lnTo>
                    <a:pt x="818" y="879"/>
                  </a:lnTo>
                  <a:lnTo>
                    <a:pt x="814" y="863"/>
                  </a:lnTo>
                  <a:lnTo>
                    <a:pt x="811" y="848"/>
                  </a:lnTo>
                  <a:lnTo>
                    <a:pt x="806" y="833"/>
                  </a:lnTo>
                  <a:lnTo>
                    <a:pt x="799" y="820"/>
                  </a:lnTo>
                  <a:lnTo>
                    <a:pt x="790" y="807"/>
                  </a:lnTo>
                  <a:lnTo>
                    <a:pt x="782" y="794"/>
                  </a:lnTo>
                  <a:lnTo>
                    <a:pt x="772" y="784"/>
                  </a:lnTo>
                  <a:lnTo>
                    <a:pt x="761" y="773"/>
                  </a:lnTo>
                  <a:lnTo>
                    <a:pt x="748" y="765"/>
                  </a:lnTo>
                  <a:lnTo>
                    <a:pt x="735" y="756"/>
                  </a:lnTo>
                  <a:lnTo>
                    <a:pt x="722" y="749"/>
                  </a:lnTo>
                  <a:lnTo>
                    <a:pt x="708" y="745"/>
                  </a:lnTo>
                  <a:lnTo>
                    <a:pt x="693" y="741"/>
                  </a:lnTo>
                  <a:lnTo>
                    <a:pt x="677" y="739"/>
                  </a:lnTo>
                  <a:lnTo>
                    <a:pt x="661" y="738"/>
                  </a:lnTo>
                  <a:lnTo>
                    <a:pt x="661" y="738"/>
                  </a:lnTo>
                  <a:lnTo>
                    <a:pt x="649" y="738"/>
                  </a:lnTo>
                  <a:lnTo>
                    <a:pt x="636" y="739"/>
                  </a:lnTo>
                  <a:lnTo>
                    <a:pt x="625" y="741"/>
                  </a:lnTo>
                  <a:lnTo>
                    <a:pt x="614" y="745"/>
                  </a:lnTo>
                  <a:lnTo>
                    <a:pt x="603" y="748"/>
                  </a:lnTo>
                  <a:lnTo>
                    <a:pt x="592" y="753"/>
                  </a:lnTo>
                  <a:lnTo>
                    <a:pt x="582" y="759"/>
                  </a:lnTo>
                  <a:lnTo>
                    <a:pt x="572" y="765"/>
                  </a:lnTo>
                  <a:lnTo>
                    <a:pt x="563" y="772"/>
                  </a:lnTo>
                  <a:lnTo>
                    <a:pt x="555" y="779"/>
                  </a:lnTo>
                  <a:lnTo>
                    <a:pt x="546" y="787"/>
                  </a:lnTo>
                  <a:lnTo>
                    <a:pt x="539" y="795"/>
                  </a:lnTo>
                  <a:lnTo>
                    <a:pt x="532" y="805"/>
                  </a:lnTo>
                  <a:lnTo>
                    <a:pt x="525" y="814"/>
                  </a:lnTo>
                  <a:lnTo>
                    <a:pt x="520" y="824"/>
                  </a:lnTo>
                  <a:lnTo>
                    <a:pt x="516" y="834"/>
                  </a:lnTo>
                  <a:lnTo>
                    <a:pt x="337" y="834"/>
                  </a:lnTo>
                  <a:lnTo>
                    <a:pt x="337" y="217"/>
                  </a:lnTo>
                  <a:lnTo>
                    <a:pt x="516" y="217"/>
                  </a:lnTo>
                  <a:lnTo>
                    <a:pt x="516" y="217"/>
                  </a:lnTo>
                  <a:lnTo>
                    <a:pt x="520" y="228"/>
                  </a:lnTo>
                  <a:lnTo>
                    <a:pt x="525" y="237"/>
                  </a:lnTo>
                  <a:lnTo>
                    <a:pt x="532" y="247"/>
                  </a:lnTo>
                  <a:lnTo>
                    <a:pt x="539" y="256"/>
                  </a:lnTo>
                  <a:lnTo>
                    <a:pt x="546" y="264"/>
                  </a:lnTo>
                  <a:lnTo>
                    <a:pt x="555" y="273"/>
                  </a:lnTo>
                  <a:lnTo>
                    <a:pt x="563" y="280"/>
                  </a:lnTo>
                  <a:lnTo>
                    <a:pt x="572" y="287"/>
                  </a:lnTo>
                  <a:lnTo>
                    <a:pt x="582" y="293"/>
                  </a:lnTo>
                  <a:lnTo>
                    <a:pt x="592" y="299"/>
                  </a:lnTo>
                  <a:lnTo>
                    <a:pt x="603" y="303"/>
                  </a:lnTo>
                  <a:lnTo>
                    <a:pt x="614" y="307"/>
                  </a:lnTo>
                  <a:lnTo>
                    <a:pt x="625" y="310"/>
                  </a:lnTo>
                  <a:lnTo>
                    <a:pt x="636" y="313"/>
                  </a:lnTo>
                  <a:lnTo>
                    <a:pt x="649" y="314"/>
                  </a:lnTo>
                  <a:lnTo>
                    <a:pt x="661" y="314"/>
                  </a:lnTo>
                  <a:lnTo>
                    <a:pt x="661" y="314"/>
                  </a:lnTo>
                  <a:lnTo>
                    <a:pt x="677" y="313"/>
                  </a:lnTo>
                  <a:lnTo>
                    <a:pt x="693" y="310"/>
                  </a:lnTo>
                  <a:lnTo>
                    <a:pt x="708" y="307"/>
                  </a:lnTo>
                  <a:lnTo>
                    <a:pt x="722" y="302"/>
                  </a:lnTo>
                  <a:lnTo>
                    <a:pt x="735" y="295"/>
                  </a:lnTo>
                  <a:lnTo>
                    <a:pt x="748" y="287"/>
                  </a:lnTo>
                  <a:lnTo>
                    <a:pt x="761" y="279"/>
                  </a:lnTo>
                  <a:lnTo>
                    <a:pt x="772" y="268"/>
                  </a:lnTo>
                  <a:lnTo>
                    <a:pt x="782" y="257"/>
                  </a:lnTo>
                  <a:lnTo>
                    <a:pt x="790" y="244"/>
                  </a:lnTo>
                  <a:lnTo>
                    <a:pt x="799" y="231"/>
                  </a:lnTo>
                  <a:lnTo>
                    <a:pt x="806" y="218"/>
                  </a:lnTo>
                  <a:lnTo>
                    <a:pt x="811" y="203"/>
                  </a:lnTo>
                  <a:lnTo>
                    <a:pt x="814" y="189"/>
                  </a:lnTo>
                  <a:lnTo>
                    <a:pt x="818" y="172"/>
                  </a:lnTo>
                  <a:lnTo>
                    <a:pt x="818" y="157"/>
                  </a:lnTo>
                  <a:lnTo>
                    <a:pt x="818" y="157"/>
                  </a:lnTo>
                  <a:lnTo>
                    <a:pt x="818" y="141"/>
                  </a:lnTo>
                  <a:lnTo>
                    <a:pt x="814" y="125"/>
                  </a:lnTo>
                  <a:lnTo>
                    <a:pt x="811" y="110"/>
                  </a:lnTo>
                  <a:lnTo>
                    <a:pt x="806" y="96"/>
                  </a:lnTo>
                  <a:lnTo>
                    <a:pt x="799" y="82"/>
                  </a:lnTo>
                  <a:lnTo>
                    <a:pt x="790" y="69"/>
                  </a:lnTo>
                  <a:lnTo>
                    <a:pt x="782" y="57"/>
                  </a:lnTo>
                  <a:lnTo>
                    <a:pt x="772" y="46"/>
                  </a:lnTo>
                  <a:lnTo>
                    <a:pt x="761" y="36"/>
                  </a:lnTo>
                  <a:lnTo>
                    <a:pt x="748" y="26"/>
                  </a:lnTo>
                  <a:lnTo>
                    <a:pt x="735" y="19"/>
                  </a:lnTo>
                  <a:lnTo>
                    <a:pt x="722" y="12"/>
                  </a:lnTo>
                  <a:lnTo>
                    <a:pt x="708" y="7"/>
                  </a:lnTo>
                  <a:lnTo>
                    <a:pt x="693" y="2"/>
                  </a:lnTo>
                  <a:lnTo>
                    <a:pt x="677" y="0"/>
                  </a:lnTo>
                  <a:lnTo>
                    <a:pt x="661" y="0"/>
                  </a:lnTo>
                  <a:lnTo>
                    <a:pt x="661" y="0"/>
                  </a:lnTo>
                  <a:lnTo>
                    <a:pt x="649" y="0"/>
                  </a:lnTo>
                  <a:lnTo>
                    <a:pt x="636" y="1"/>
                  </a:lnTo>
                  <a:lnTo>
                    <a:pt x="625" y="4"/>
                  </a:lnTo>
                  <a:lnTo>
                    <a:pt x="614" y="7"/>
                  </a:lnTo>
                  <a:lnTo>
                    <a:pt x="603" y="11"/>
                  </a:lnTo>
                  <a:lnTo>
                    <a:pt x="592" y="15"/>
                  </a:lnTo>
                  <a:lnTo>
                    <a:pt x="582" y="20"/>
                  </a:lnTo>
                  <a:lnTo>
                    <a:pt x="572" y="27"/>
                  </a:lnTo>
                  <a:lnTo>
                    <a:pt x="563" y="33"/>
                  </a:lnTo>
                  <a:lnTo>
                    <a:pt x="555" y="41"/>
                  </a:lnTo>
                  <a:lnTo>
                    <a:pt x="546" y="48"/>
                  </a:lnTo>
                  <a:lnTo>
                    <a:pt x="539" y="58"/>
                  </a:lnTo>
                  <a:lnTo>
                    <a:pt x="532" y="66"/>
                  </a:lnTo>
                  <a:lnTo>
                    <a:pt x="525" y="77"/>
                  </a:lnTo>
                  <a:lnTo>
                    <a:pt x="520" y="86"/>
                  </a:lnTo>
                  <a:lnTo>
                    <a:pt x="516" y="97"/>
                  </a:lnTo>
                  <a:lnTo>
                    <a:pt x="303" y="97"/>
                  </a:lnTo>
                  <a:lnTo>
                    <a:pt x="251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0" y="98"/>
                  </a:lnTo>
                  <a:lnTo>
                    <a:pt x="235" y="99"/>
                  </a:lnTo>
                  <a:lnTo>
                    <a:pt x="230" y="103"/>
                  </a:lnTo>
                  <a:lnTo>
                    <a:pt x="225" y="106"/>
                  </a:lnTo>
                  <a:lnTo>
                    <a:pt x="222" y="112"/>
                  </a:lnTo>
                  <a:lnTo>
                    <a:pt x="219" y="118"/>
                  </a:lnTo>
                  <a:lnTo>
                    <a:pt x="218" y="124"/>
                  </a:lnTo>
                  <a:lnTo>
                    <a:pt x="217" y="131"/>
                  </a:lnTo>
                  <a:lnTo>
                    <a:pt x="217" y="183"/>
                  </a:lnTo>
                  <a:lnTo>
                    <a:pt x="217" y="834"/>
                  </a:lnTo>
                  <a:lnTo>
                    <a:pt x="112" y="834"/>
                  </a:lnTo>
                  <a:lnTo>
                    <a:pt x="0" y="834"/>
                  </a:lnTo>
                  <a:lnTo>
                    <a:pt x="0" y="955"/>
                  </a:lnTo>
                  <a:lnTo>
                    <a:pt x="112" y="955"/>
                  </a:lnTo>
                  <a:lnTo>
                    <a:pt x="217" y="955"/>
                  </a:lnTo>
                  <a:lnTo>
                    <a:pt x="217" y="1607"/>
                  </a:lnTo>
                  <a:lnTo>
                    <a:pt x="217" y="1658"/>
                  </a:lnTo>
                  <a:lnTo>
                    <a:pt x="217" y="1658"/>
                  </a:lnTo>
                  <a:lnTo>
                    <a:pt x="218" y="1665"/>
                  </a:lnTo>
                  <a:lnTo>
                    <a:pt x="219" y="1672"/>
                  </a:lnTo>
                  <a:lnTo>
                    <a:pt x="222" y="1678"/>
                  </a:lnTo>
                  <a:lnTo>
                    <a:pt x="225" y="1683"/>
                  </a:lnTo>
                  <a:lnTo>
                    <a:pt x="230" y="1686"/>
                  </a:lnTo>
                  <a:lnTo>
                    <a:pt x="235" y="1690"/>
                  </a:lnTo>
                  <a:lnTo>
                    <a:pt x="240" y="1692"/>
                  </a:lnTo>
                  <a:lnTo>
                    <a:pt x="245" y="1692"/>
                  </a:lnTo>
                  <a:lnTo>
                    <a:pt x="251" y="1692"/>
                  </a:lnTo>
                  <a:lnTo>
                    <a:pt x="303" y="1692"/>
                  </a:lnTo>
                  <a:lnTo>
                    <a:pt x="516" y="1692"/>
                  </a:lnTo>
                  <a:lnTo>
                    <a:pt x="516" y="1692"/>
                  </a:lnTo>
                  <a:lnTo>
                    <a:pt x="520" y="1703"/>
                  </a:lnTo>
                  <a:lnTo>
                    <a:pt x="525" y="1713"/>
                  </a:lnTo>
                  <a:lnTo>
                    <a:pt x="532" y="1723"/>
                  </a:lnTo>
                  <a:lnTo>
                    <a:pt x="539" y="1732"/>
                  </a:lnTo>
                  <a:lnTo>
                    <a:pt x="546" y="1740"/>
                  </a:lnTo>
                  <a:lnTo>
                    <a:pt x="555" y="1749"/>
                  </a:lnTo>
                  <a:lnTo>
                    <a:pt x="563" y="1756"/>
                  </a:lnTo>
                  <a:lnTo>
                    <a:pt x="572" y="1763"/>
                  </a:lnTo>
                  <a:lnTo>
                    <a:pt x="582" y="1769"/>
                  </a:lnTo>
                  <a:lnTo>
                    <a:pt x="592" y="1773"/>
                  </a:lnTo>
                  <a:lnTo>
                    <a:pt x="603" y="1778"/>
                  </a:lnTo>
                  <a:lnTo>
                    <a:pt x="614" y="1783"/>
                  </a:lnTo>
                  <a:lnTo>
                    <a:pt x="625" y="1785"/>
                  </a:lnTo>
                  <a:lnTo>
                    <a:pt x="636" y="1788"/>
                  </a:lnTo>
                  <a:lnTo>
                    <a:pt x="649" y="1789"/>
                  </a:lnTo>
                  <a:lnTo>
                    <a:pt x="661" y="1790"/>
                  </a:lnTo>
                  <a:lnTo>
                    <a:pt x="661" y="1790"/>
                  </a:lnTo>
                  <a:lnTo>
                    <a:pt x="677" y="1789"/>
                  </a:lnTo>
                  <a:lnTo>
                    <a:pt x="693" y="1786"/>
                  </a:lnTo>
                  <a:lnTo>
                    <a:pt x="708" y="1783"/>
                  </a:lnTo>
                  <a:lnTo>
                    <a:pt x="722" y="1777"/>
                  </a:lnTo>
                  <a:lnTo>
                    <a:pt x="735" y="1771"/>
                  </a:lnTo>
                  <a:lnTo>
                    <a:pt x="748" y="1763"/>
                  </a:lnTo>
                  <a:lnTo>
                    <a:pt x="761" y="1753"/>
                  </a:lnTo>
                  <a:lnTo>
                    <a:pt x="772" y="1744"/>
                  </a:lnTo>
                  <a:lnTo>
                    <a:pt x="782" y="1732"/>
                  </a:lnTo>
                  <a:lnTo>
                    <a:pt x="790" y="1720"/>
                  </a:lnTo>
                  <a:lnTo>
                    <a:pt x="799" y="1707"/>
                  </a:lnTo>
                  <a:lnTo>
                    <a:pt x="806" y="1693"/>
                  </a:lnTo>
                  <a:lnTo>
                    <a:pt x="811" y="1679"/>
                  </a:lnTo>
                  <a:lnTo>
                    <a:pt x="814" y="1664"/>
                  </a:lnTo>
                  <a:lnTo>
                    <a:pt x="818" y="1648"/>
                  </a:lnTo>
                  <a:lnTo>
                    <a:pt x="818" y="1632"/>
                  </a:lnTo>
                  <a:lnTo>
                    <a:pt x="818" y="1632"/>
                  </a:lnTo>
                  <a:lnTo>
                    <a:pt x="818" y="1617"/>
                  </a:lnTo>
                  <a:lnTo>
                    <a:pt x="814" y="1601"/>
                  </a:lnTo>
                  <a:lnTo>
                    <a:pt x="811" y="1586"/>
                  </a:lnTo>
                  <a:lnTo>
                    <a:pt x="806" y="1572"/>
                  </a:lnTo>
                  <a:lnTo>
                    <a:pt x="799" y="1558"/>
                  </a:lnTo>
                  <a:lnTo>
                    <a:pt x="790" y="1545"/>
                  </a:lnTo>
                  <a:lnTo>
                    <a:pt x="782" y="1533"/>
                  </a:lnTo>
                  <a:lnTo>
                    <a:pt x="772" y="1521"/>
                  </a:lnTo>
                  <a:lnTo>
                    <a:pt x="761" y="1512"/>
                  </a:lnTo>
                  <a:lnTo>
                    <a:pt x="748" y="1502"/>
                  </a:lnTo>
                  <a:lnTo>
                    <a:pt x="735" y="1494"/>
                  </a:lnTo>
                  <a:lnTo>
                    <a:pt x="722" y="1488"/>
                  </a:lnTo>
                  <a:lnTo>
                    <a:pt x="708" y="1482"/>
                  </a:lnTo>
                  <a:lnTo>
                    <a:pt x="693" y="1478"/>
                  </a:lnTo>
                  <a:lnTo>
                    <a:pt x="677" y="1476"/>
                  </a:lnTo>
                  <a:lnTo>
                    <a:pt x="661" y="1475"/>
                  </a:lnTo>
                  <a:lnTo>
                    <a:pt x="661" y="1475"/>
                  </a:lnTo>
                  <a:lnTo>
                    <a:pt x="649" y="1476"/>
                  </a:lnTo>
                  <a:lnTo>
                    <a:pt x="636" y="1477"/>
                  </a:lnTo>
                  <a:lnTo>
                    <a:pt x="625" y="1480"/>
                  </a:lnTo>
                  <a:lnTo>
                    <a:pt x="614" y="1482"/>
                  </a:lnTo>
                  <a:lnTo>
                    <a:pt x="603" y="1487"/>
                  </a:lnTo>
                  <a:lnTo>
                    <a:pt x="592" y="1491"/>
                  </a:lnTo>
                  <a:lnTo>
                    <a:pt x="582" y="1496"/>
                  </a:lnTo>
                  <a:lnTo>
                    <a:pt x="572" y="1502"/>
                  </a:lnTo>
                  <a:lnTo>
                    <a:pt x="563" y="1509"/>
                  </a:lnTo>
                  <a:lnTo>
                    <a:pt x="555" y="1516"/>
                  </a:lnTo>
                  <a:lnTo>
                    <a:pt x="546" y="1524"/>
                  </a:lnTo>
                  <a:lnTo>
                    <a:pt x="539" y="1533"/>
                  </a:lnTo>
                  <a:lnTo>
                    <a:pt x="532" y="1542"/>
                  </a:lnTo>
                  <a:lnTo>
                    <a:pt x="525" y="1552"/>
                  </a:lnTo>
                  <a:lnTo>
                    <a:pt x="520" y="1562"/>
                  </a:lnTo>
                  <a:lnTo>
                    <a:pt x="516" y="1573"/>
                  </a:lnTo>
                  <a:lnTo>
                    <a:pt x="337" y="1573"/>
                  </a:lnTo>
                  <a:lnTo>
                    <a:pt x="337" y="955"/>
                  </a:lnTo>
                  <a:lnTo>
                    <a:pt x="516" y="9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77054F9A-3BB5-4257-B3DB-D3B4EDA5522F}"/>
              </a:ext>
            </a:extLst>
          </p:cNvPr>
          <p:cNvGrpSpPr/>
          <p:nvPr/>
        </p:nvGrpSpPr>
        <p:grpSpPr>
          <a:xfrm>
            <a:off x="7871562" y="4116034"/>
            <a:ext cx="252000" cy="216000"/>
            <a:chOff x="1871663" y="2308226"/>
            <a:chExt cx="449263" cy="392112"/>
          </a:xfrm>
          <a:solidFill>
            <a:schemeClr val="bg1"/>
          </a:solidFill>
        </p:grpSpPr>
        <p:sp>
          <p:nvSpPr>
            <p:cNvPr id="480" name="Freeform 51">
              <a:extLst>
                <a:ext uri="{FF2B5EF4-FFF2-40B4-BE49-F238E27FC236}">
                  <a16:creationId xmlns:a16="http://schemas.microsoft.com/office/drawing/2014/main" id="{5BFFDA40-1319-41F0-AF70-3A26FC506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350" y="2308226"/>
              <a:ext cx="369888" cy="250825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0" y="291"/>
                </a:cxn>
                <a:cxn ang="0">
                  <a:pos x="0" y="291"/>
                </a:cxn>
                <a:cxn ang="0">
                  <a:pos x="2" y="301"/>
                </a:cxn>
                <a:cxn ang="0">
                  <a:pos x="6" y="307"/>
                </a:cxn>
                <a:cxn ang="0">
                  <a:pos x="14" y="312"/>
                </a:cxn>
                <a:cxn ang="0">
                  <a:pos x="21" y="314"/>
                </a:cxn>
                <a:cxn ang="0">
                  <a:pos x="442" y="314"/>
                </a:cxn>
                <a:cxn ang="0">
                  <a:pos x="442" y="314"/>
                </a:cxn>
                <a:cxn ang="0">
                  <a:pos x="452" y="312"/>
                </a:cxn>
                <a:cxn ang="0">
                  <a:pos x="460" y="307"/>
                </a:cxn>
                <a:cxn ang="0">
                  <a:pos x="463" y="301"/>
                </a:cxn>
                <a:cxn ang="0">
                  <a:pos x="465" y="291"/>
                </a:cxn>
                <a:cxn ang="0">
                  <a:pos x="465" y="21"/>
                </a:cxn>
                <a:cxn ang="0">
                  <a:pos x="465" y="21"/>
                </a:cxn>
                <a:cxn ang="0">
                  <a:pos x="463" y="13"/>
                </a:cxn>
                <a:cxn ang="0">
                  <a:pos x="460" y="6"/>
                </a:cxn>
                <a:cxn ang="0">
                  <a:pos x="452" y="2"/>
                </a:cxn>
                <a:cxn ang="0">
                  <a:pos x="442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4" y="2"/>
                </a:cxn>
                <a:cxn ang="0">
                  <a:pos x="6" y="6"/>
                </a:cxn>
                <a:cxn ang="0">
                  <a:pos x="2" y="13"/>
                </a:cxn>
                <a:cxn ang="0">
                  <a:pos x="0" y="21"/>
                </a:cxn>
                <a:cxn ang="0">
                  <a:pos x="0" y="21"/>
                </a:cxn>
                <a:cxn ang="0">
                  <a:pos x="25" y="32"/>
                </a:cxn>
                <a:cxn ang="0">
                  <a:pos x="25" y="32"/>
                </a:cxn>
                <a:cxn ang="0">
                  <a:pos x="27" y="28"/>
                </a:cxn>
                <a:cxn ang="0">
                  <a:pos x="27" y="26"/>
                </a:cxn>
                <a:cxn ang="0">
                  <a:pos x="31" y="25"/>
                </a:cxn>
                <a:cxn ang="0">
                  <a:pos x="35" y="25"/>
                </a:cxn>
                <a:cxn ang="0">
                  <a:pos x="431" y="25"/>
                </a:cxn>
                <a:cxn ang="0">
                  <a:pos x="431" y="25"/>
                </a:cxn>
                <a:cxn ang="0">
                  <a:pos x="435" y="25"/>
                </a:cxn>
                <a:cxn ang="0">
                  <a:pos x="437" y="26"/>
                </a:cxn>
                <a:cxn ang="0">
                  <a:pos x="439" y="28"/>
                </a:cxn>
                <a:cxn ang="0">
                  <a:pos x="439" y="32"/>
                </a:cxn>
                <a:cxn ang="0">
                  <a:pos x="439" y="282"/>
                </a:cxn>
                <a:cxn ang="0">
                  <a:pos x="439" y="282"/>
                </a:cxn>
                <a:cxn ang="0">
                  <a:pos x="439" y="284"/>
                </a:cxn>
                <a:cxn ang="0">
                  <a:pos x="437" y="287"/>
                </a:cxn>
                <a:cxn ang="0">
                  <a:pos x="435" y="289"/>
                </a:cxn>
                <a:cxn ang="0">
                  <a:pos x="431" y="289"/>
                </a:cxn>
                <a:cxn ang="0">
                  <a:pos x="35" y="289"/>
                </a:cxn>
                <a:cxn ang="0">
                  <a:pos x="35" y="289"/>
                </a:cxn>
                <a:cxn ang="0">
                  <a:pos x="31" y="289"/>
                </a:cxn>
                <a:cxn ang="0">
                  <a:pos x="27" y="287"/>
                </a:cxn>
                <a:cxn ang="0">
                  <a:pos x="27" y="284"/>
                </a:cxn>
                <a:cxn ang="0">
                  <a:pos x="25" y="282"/>
                </a:cxn>
                <a:cxn ang="0">
                  <a:pos x="25" y="32"/>
                </a:cxn>
              </a:cxnLst>
              <a:rect l="0" t="0" r="r" b="b"/>
              <a:pathLst>
                <a:path w="465" h="314">
                  <a:moveTo>
                    <a:pt x="0" y="21"/>
                  </a:moveTo>
                  <a:lnTo>
                    <a:pt x="0" y="291"/>
                  </a:lnTo>
                  <a:lnTo>
                    <a:pt x="0" y="291"/>
                  </a:lnTo>
                  <a:lnTo>
                    <a:pt x="2" y="301"/>
                  </a:lnTo>
                  <a:lnTo>
                    <a:pt x="6" y="307"/>
                  </a:lnTo>
                  <a:lnTo>
                    <a:pt x="14" y="312"/>
                  </a:lnTo>
                  <a:lnTo>
                    <a:pt x="21" y="314"/>
                  </a:lnTo>
                  <a:lnTo>
                    <a:pt x="442" y="314"/>
                  </a:lnTo>
                  <a:lnTo>
                    <a:pt x="442" y="314"/>
                  </a:lnTo>
                  <a:lnTo>
                    <a:pt x="452" y="312"/>
                  </a:lnTo>
                  <a:lnTo>
                    <a:pt x="460" y="307"/>
                  </a:lnTo>
                  <a:lnTo>
                    <a:pt x="463" y="301"/>
                  </a:lnTo>
                  <a:lnTo>
                    <a:pt x="465" y="291"/>
                  </a:lnTo>
                  <a:lnTo>
                    <a:pt x="465" y="21"/>
                  </a:lnTo>
                  <a:lnTo>
                    <a:pt x="465" y="21"/>
                  </a:lnTo>
                  <a:lnTo>
                    <a:pt x="463" y="13"/>
                  </a:lnTo>
                  <a:lnTo>
                    <a:pt x="460" y="6"/>
                  </a:lnTo>
                  <a:lnTo>
                    <a:pt x="452" y="2"/>
                  </a:lnTo>
                  <a:lnTo>
                    <a:pt x="442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4" y="2"/>
                  </a:lnTo>
                  <a:lnTo>
                    <a:pt x="6" y="6"/>
                  </a:lnTo>
                  <a:lnTo>
                    <a:pt x="2" y="13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7" y="28"/>
                  </a:lnTo>
                  <a:lnTo>
                    <a:pt x="27" y="26"/>
                  </a:lnTo>
                  <a:lnTo>
                    <a:pt x="31" y="25"/>
                  </a:lnTo>
                  <a:lnTo>
                    <a:pt x="35" y="25"/>
                  </a:lnTo>
                  <a:lnTo>
                    <a:pt x="431" y="25"/>
                  </a:lnTo>
                  <a:lnTo>
                    <a:pt x="431" y="25"/>
                  </a:lnTo>
                  <a:lnTo>
                    <a:pt x="435" y="25"/>
                  </a:lnTo>
                  <a:lnTo>
                    <a:pt x="437" y="26"/>
                  </a:lnTo>
                  <a:lnTo>
                    <a:pt x="439" y="28"/>
                  </a:lnTo>
                  <a:lnTo>
                    <a:pt x="439" y="32"/>
                  </a:lnTo>
                  <a:lnTo>
                    <a:pt x="439" y="282"/>
                  </a:lnTo>
                  <a:lnTo>
                    <a:pt x="439" y="282"/>
                  </a:lnTo>
                  <a:lnTo>
                    <a:pt x="439" y="284"/>
                  </a:lnTo>
                  <a:lnTo>
                    <a:pt x="437" y="287"/>
                  </a:lnTo>
                  <a:lnTo>
                    <a:pt x="435" y="289"/>
                  </a:lnTo>
                  <a:lnTo>
                    <a:pt x="431" y="289"/>
                  </a:lnTo>
                  <a:lnTo>
                    <a:pt x="35" y="289"/>
                  </a:lnTo>
                  <a:lnTo>
                    <a:pt x="35" y="289"/>
                  </a:lnTo>
                  <a:lnTo>
                    <a:pt x="31" y="289"/>
                  </a:lnTo>
                  <a:lnTo>
                    <a:pt x="27" y="287"/>
                  </a:lnTo>
                  <a:lnTo>
                    <a:pt x="27" y="284"/>
                  </a:lnTo>
                  <a:lnTo>
                    <a:pt x="25" y="282"/>
                  </a:lnTo>
                  <a:lnTo>
                    <a:pt x="25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1" name="Freeform 52">
              <a:extLst>
                <a:ext uri="{FF2B5EF4-FFF2-40B4-BE49-F238E27FC236}">
                  <a16:creationId xmlns:a16="http://schemas.microsoft.com/office/drawing/2014/main" id="{FC12614A-794C-405C-8735-C0C4CB118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663" y="2681288"/>
              <a:ext cx="449263" cy="19050"/>
            </a:xfrm>
            <a:custGeom>
              <a:avLst/>
              <a:gdLst/>
              <a:ahLst/>
              <a:cxnLst>
                <a:cxn ang="0">
                  <a:pos x="17" y="25"/>
                </a:cxn>
                <a:cxn ang="0">
                  <a:pos x="549" y="25"/>
                </a:cxn>
                <a:cxn ang="0">
                  <a:pos x="549" y="25"/>
                </a:cxn>
                <a:cxn ang="0">
                  <a:pos x="560" y="23"/>
                </a:cxn>
                <a:cxn ang="0">
                  <a:pos x="566" y="18"/>
                </a:cxn>
                <a:cxn ang="0">
                  <a:pos x="568" y="16"/>
                </a:cxn>
                <a:cxn ang="0">
                  <a:pos x="568" y="12"/>
                </a:cxn>
                <a:cxn ang="0">
                  <a:pos x="566" y="2"/>
                </a:cxn>
                <a:cxn ang="0">
                  <a:pos x="564" y="0"/>
                </a:cxn>
                <a:cxn ang="0">
                  <a:pos x="564" y="0"/>
                </a:cxn>
                <a:cxn ang="0">
                  <a:pos x="558" y="2"/>
                </a:cxn>
                <a:cxn ang="0">
                  <a:pos x="549" y="4"/>
                </a:cxn>
                <a:cxn ang="0">
                  <a:pos x="17" y="4"/>
                </a:cxn>
                <a:cxn ang="0">
                  <a:pos x="17" y="4"/>
                </a:cxn>
                <a:cxn ang="0">
                  <a:pos x="1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8" y="23"/>
                </a:cxn>
                <a:cxn ang="0">
                  <a:pos x="17" y="25"/>
                </a:cxn>
                <a:cxn ang="0">
                  <a:pos x="17" y="25"/>
                </a:cxn>
              </a:cxnLst>
              <a:rect l="0" t="0" r="r" b="b"/>
              <a:pathLst>
                <a:path w="568" h="25">
                  <a:moveTo>
                    <a:pt x="17" y="25"/>
                  </a:moveTo>
                  <a:lnTo>
                    <a:pt x="549" y="25"/>
                  </a:lnTo>
                  <a:lnTo>
                    <a:pt x="549" y="25"/>
                  </a:lnTo>
                  <a:lnTo>
                    <a:pt x="560" y="23"/>
                  </a:lnTo>
                  <a:lnTo>
                    <a:pt x="566" y="18"/>
                  </a:lnTo>
                  <a:lnTo>
                    <a:pt x="568" y="16"/>
                  </a:lnTo>
                  <a:lnTo>
                    <a:pt x="568" y="12"/>
                  </a:lnTo>
                  <a:lnTo>
                    <a:pt x="566" y="2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58" y="2"/>
                  </a:lnTo>
                  <a:lnTo>
                    <a:pt x="549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8" y="23"/>
                  </a:lnTo>
                  <a:lnTo>
                    <a:pt x="17" y="25"/>
                  </a:lnTo>
                  <a:lnTo>
                    <a:pt x="17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2" name="Freeform 53">
              <a:extLst>
                <a:ext uri="{FF2B5EF4-FFF2-40B4-BE49-F238E27FC236}">
                  <a16:creationId xmlns:a16="http://schemas.microsoft.com/office/drawing/2014/main" id="{3DCF78BB-EB03-40BE-909A-6D03688E3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1663" y="2578101"/>
              <a:ext cx="449263" cy="88900"/>
            </a:xfrm>
            <a:custGeom>
              <a:avLst/>
              <a:gdLst/>
              <a:ahLst/>
              <a:cxnLst>
                <a:cxn ang="0">
                  <a:pos x="17" y="112"/>
                </a:cxn>
                <a:cxn ang="0">
                  <a:pos x="549" y="112"/>
                </a:cxn>
                <a:cxn ang="0">
                  <a:pos x="549" y="112"/>
                </a:cxn>
                <a:cxn ang="0">
                  <a:pos x="560" y="112"/>
                </a:cxn>
                <a:cxn ang="0">
                  <a:pos x="566" y="107"/>
                </a:cxn>
                <a:cxn ang="0">
                  <a:pos x="568" y="103"/>
                </a:cxn>
                <a:cxn ang="0">
                  <a:pos x="568" y="99"/>
                </a:cxn>
                <a:cxn ang="0">
                  <a:pos x="566" y="91"/>
                </a:cxn>
                <a:cxn ang="0">
                  <a:pos x="528" y="23"/>
                </a:cxn>
                <a:cxn ang="0">
                  <a:pos x="528" y="23"/>
                </a:cxn>
                <a:cxn ang="0">
                  <a:pos x="522" y="13"/>
                </a:cxn>
                <a:cxn ang="0">
                  <a:pos x="512" y="8"/>
                </a:cxn>
                <a:cxn ang="0">
                  <a:pos x="503" y="2"/>
                </a:cxn>
                <a:cxn ang="0">
                  <a:pos x="493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3" y="2"/>
                </a:cxn>
                <a:cxn ang="0">
                  <a:pos x="53" y="8"/>
                </a:cxn>
                <a:cxn ang="0">
                  <a:pos x="46" y="13"/>
                </a:cxn>
                <a:cxn ang="0">
                  <a:pos x="38" y="23"/>
                </a:cxn>
                <a:cxn ang="0">
                  <a:pos x="2" y="91"/>
                </a:cxn>
                <a:cxn ang="0">
                  <a:pos x="2" y="91"/>
                </a:cxn>
                <a:cxn ang="0">
                  <a:pos x="0" y="99"/>
                </a:cxn>
                <a:cxn ang="0">
                  <a:pos x="0" y="103"/>
                </a:cxn>
                <a:cxn ang="0">
                  <a:pos x="2" y="107"/>
                </a:cxn>
                <a:cxn ang="0">
                  <a:pos x="8" y="112"/>
                </a:cxn>
                <a:cxn ang="0">
                  <a:pos x="17" y="112"/>
                </a:cxn>
                <a:cxn ang="0">
                  <a:pos x="17" y="112"/>
                </a:cxn>
                <a:cxn ang="0">
                  <a:pos x="250" y="97"/>
                </a:cxn>
                <a:cxn ang="0">
                  <a:pos x="257" y="80"/>
                </a:cxn>
                <a:cxn ang="0">
                  <a:pos x="311" y="80"/>
                </a:cxn>
                <a:cxn ang="0">
                  <a:pos x="318" y="97"/>
                </a:cxn>
                <a:cxn ang="0">
                  <a:pos x="250" y="97"/>
                </a:cxn>
                <a:cxn ang="0">
                  <a:pos x="55" y="15"/>
                </a:cxn>
                <a:cxn ang="0">
                  <a:pos x="512" y="15"/>
                </a:cxn>
                <a:cxn ang="0">
                  <a:pos x="512" y="36"/>
                </a:cxn>
                <a:cxn ang="0">
                  <a:pos x="55" y="36"/>
                </a:cxn>
                <a:cxn ang="0">
                  <a:pos x="55" y="15"/>
                </a:cxn>
                <a:cxn ang="0">
                  <a:pos x="42" y="48"/>
                </a:cxn>
                <a:cxn ang="0">
                  <a:pos x="526" y="48"/>
                </a:cxn>
                <a:cxn ang="0">
                  <a:pos x="526" y="67"/>
                </a:cxn>
                <a:cxn ang="0">
                  <a:pos x="42" y="67"/>
                </a:cxn>
                <a:cxn ang="0">
                  <a:pos x="42" y="48"/>
                </a:cxn>
              </a:cxnLst>
              <a:rect l="0" t="0" r="r" b="b"/>
              <a:pathLst>
                <a:path w="568" h="112">
                  <a:moveTo>
                    <a:pt x="17" y="112"/>
                  </a:moveTo>
                  <a:lnTo>
                    <a:pt x="549" y="112"/>
                  </a:lnTo>
                  <a:lnTo>
                    <a:pt x="549" y="112"/>
                  </a:lnTo>
                  <a:lnTo>
                    <a:pt x="560" y="112"/>
                  </a:lnTo>
                  <a:lnTo>
                    <a:pt x="566" y="107"/>
                  </a:lnTo>
                  <a:lnTo>
                    <a:pt x="568" y="103"/>
                  </a:lnTo>
                  <a:lnTo>
                    <a:pt x="568" y="99"/>
                  </a:lnTo>
                  <a:lnTo>
                    <a:pt x="566" y="91"/>
                  </a:lnTo>
                  <a:lnTo>
                    <a:pt x="528" y="23"/>
                  </a:lnTo>
                  <a:lnTo>
                    <a:pt x="528" y="23"/>
                  </a:lnTo>
                  <a:lnTo>
                    <a:pt x="522" y="13"/>
                  </a:lnTo>
                  <a:lnTo>
                    <a:pt x="512" y="8"/>
                  </a:lnTo>
                  <a:lnTo>
                    <a:pt x="503" y="2"/>
                  </a:lnTo>
                  <a:lnTo>
                    <a:pt x="493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3" y="2"/>
                  </a:lnTo>
                  <a:lnTo>
                    <a:pt x="53" y="8"/>
                  </a:lnTo>
                  <a:lnTo>
                    <a:pt x="46" y="13"/>
                  </a:lnTo>
                  <a:lnTo>
                    <a:pt x="38" y="23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0" y="99"/>
                  </a:lnTo>
                  <a:lnTo>
                    <a:pt x="0" y="103"/>
                  </a:lnTo>
                  <a:lnTo>
                    <a:pt x="2" y="107"/>
                  </a:lnTo>
                  <a:lnTo>
                    <a:pt x="8" y="112"/>
                  </a:lnTo>
                  <a:lnTo>
                    <a:pt x="17" y="112"/>
                  </a:lnTo>
                  <a:lnTo>
                    <a:pt x="17" y="112"/>
                  </a:lnTo>
                  <a:close/>
                  <a:moveTo>
                    <a:pt x="250" y="97"/>
                  </a:moveTo>
                  <a:lnTo>
                    <a:pt x="257" y="80"/>
                  </a:lnTo>
                  <a:lnTo>
                    <a:pt x="311" y="80"/>
                  </a:lnTo>
                  <a:lnTo>
                    <a:pt x="318" y="97"/>
                  </a:lnTo>
                  <a:lnTo>
                    <a:pt x="250" y="97"/>
                  </a:lnTo>
                  <a:close/>
                  <a:moveTo>
                    <a:pt x="55" y="15"/>
                  </a:moveTo>
                  <a:lnTo>
                    <a:pt x="512" y="15"/>
                  </a:lnTo>
                  <a:lnTo>
                    <a:pt x="512" y="36"/>
                  </a:lnTo>
                  <a:lnTo>
                    <a:pt x="55" y="36"/>
                  </a:lnTo>
                  <a:lnTo>
                    <a:pt x="55" y="15"/>
                  </a:lnTo>
                  <a:close/>
                  <a:moveTo>
                    <a:pt x="42" y="48"/>
                  </a:moveTo>
                  <a:lnTo>
                    <a:pt x="526" y="48"/>
                  </a:lnTo>
                  <a:lnTo>
                    <a:pt x="526" y="67"/>
                  </a:lnTo>
                  <a:lnTo>
                    <a:pt x="42" y="67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3" name="Freeform 54">
              <a:extLst>
                <a:ext uri="{FF2B5EF4-FFF2-40B4-BE49-F238E27FC236}">
                  <a16:creationId xmlns:a16="http://schemas.microsoft.com/office/drawing/2014/main" id="{7F469B64-0B94-4260-9F0D-AD8A25A8D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2362201"/>
              <a:ext cx="49213" cy="60325"/>
            </a:xfrm>
            <a:custGeom>
              <a:avLst/>
              <a:gdLst/>
              <a:ahLst/>
              <a:cxnLst>
                <a:cxn ang="0">
                  <a:pos x="27" y="61"/>
                </a:cxn>
                <a:cxn ang="0">
                  <a:pos x="27" y="61"/>
                </a:cxn>
                <a:cxn ang="0">
                  <a:pos x="33" y="77"/>
                </a:cxn>
                <a:cxn ang="0">
                  <a:pos x="63" y="77"/>
                </a:cxn>
                <a:cxn ang="0">
                  <a:pos x="63" y="77"/>
                </a:cxn>
                <a:cxn ang="0">
                  <a:pos x="61" y="63"/>
                </a:cxn>
                <a:cxn ang="0">
                  <a:pos x="55" y="50"/>
                </a:cxn>
                <a:cxn ang="0">
                  <a:pos x="55" y="50"/>
                </a:cxn>
                <a:cxn ang="0">
                  <a:pos x="46" y="33"/>
                </a:cxn>
                <a:cxn ang="0">
                  <a:pos x="34" y="18"/>
                </a:cxn>
                <a:cxn ang="0">
                  <a:pos x="34" y="18"/>
                </a:cxn>
                <a:cxn ang="0">
                  <a:pos x="23" y="8"/>
                </a:cxn>
                <a:cxn ang="0">
                  <a:pos x="12" y="0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13" y="39"/>
                </a:cxn>
                <a:cxn ang="0">
                  <a:pos x="13" y="39"/>
                </a:cxn>
                <a:cxn ang="0">
                  <a:pos x="21" y="50"/>
                </a:cxn>
                <a:cxn ang="0">
                  <a:pos x="27" y="61"/>
                </a:cxn>
                <a:cxn ang="0">
                  <a:pos x="27" y="61"/>
                </a:cxn>
              </a:cxnLst>
              <a:rect l="0" t="0" r="r" b="b"/>
              <a:pathLst>
                <a:path w="63" h="77">
                  <a:moveTo>
                    <a:pt x="27" y="61"/>
                  </a:moveTo>
                  <a:lnTo>
                    <a:pt x="27" y="61"/>
                  </a:lnTo>
                  <a:lnTo>
                    <a:pt x="3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1" y="63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46" y="33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23" y="8"/>
                  </a:lnTo>
                  <a:lnTo>
                    <a:pt x="12" y="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21" y="50"/>
                  </a:lnTo>
                  <a:lnTo>
                    <a:pt x="27" y="61"/>
                  </a:lnTo>
                  <a:lnTo>
                    <a:pt x="27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4" name="Freeform 55">
              <a:extLst>
                <a:ext uri="{FF2B5EF4-FFF2-40B4-BE49-F238E27FC236}">
                  <a16:creationId xmlns:a16="http://schemas.microsoft.com/office/drawing/2014/main" id="{769A4481-7792-434C-9CA7-5F2D16BD9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2436813"/>
              <a:ext cx="49213" cy="60325"/>
            </a:xfrm>
            <a:custGeom>
              <a:avLst/>
              <a:gdLst/>
              <a:ahLst/>
              <a:cxnLst>
                <a:cxn ang="0">
                  <a:pos x="34" y="59"/>
                </a:cxn>
                <a:cxn ang="0">
                  <a:pos x="34" y="59"/>
                </a:cxn>
                <a:cxn ang="0">
                  <a:pos x="46" y="45"/>
                </a:cxn>
                <a:cxn ang="0">
                  <a:pos x="55" y="28"/>
                </a:cxn>
                <a:cxn ang="0">
                  <a:pos x="55" y="28"/>
                </a:cxn>
                <a:cxn ang="0">
                  <a:pos x="61" y="15"/>
                </a:cxn>
                <a:cxn ang="0">
                  <a:pos x="63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27" y="17"/>
                </a:cxn>
                <a:cxn ang="0">
                  <a:pos x="27" y="17"/>
                </a:cxn>
                <a:cxn ang="0">
                  <a:pos x="21" y="28"/>
                </a:cxn>
                <a:cxn ang="0">
                  <a:pos x="13" y="38"/>
                </a:cxn>
                <a:cxn ang="0">
                  <a:pos x="13" y="38"/>
                </a:cxn>
                <a:cxn ang="0">
                  <a:pos x="0" y="47"/>
                </a:cxn>
                <a:cxn ang="0">
                  <a:pos x="12" y="76"/>
                </a:cxn>
                <a:cxn ang="0">
                  <a:pos x="12" y="76"/>
                </a:cxn>
                <a:cxn ang="0">
                  <a:pos x="23" y="68"/>
                </a:cxn>
                <a:cxn ang="0">
                  <a:pos x="34" y="59"/>
                </a:cxn>
                <a:cxn ang="0">
                  <a:pos x="34" y="59"/>
                </a:cxn>
              </a:cxnLst>
              <a:rect l="0" t="0" r="r" b="b"/>
              <a:pathLst>
                <a:path w="63" h="76">
                  <a:moveTo>
                    <a:pt x="34" y="59"/>
                  </a:moveTo>
                  <a:lnTo>
                    <a:pt x="34" y="59"/>
                  </a:lnTo>
                  <a:lnTo>
                    <a:pt x="46" y="45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61" y="15"/>
                  </a:lnTo>
                  <a:lnTo>
                    <a:pt x="6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1" y="2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0" y="47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23" y="68"/>
                  </a:lnTo>
                  <a:lnTo>
                    <a:pt x="34" y="59"/>
                  </a:lnTo>
                  <a:lnTo>
                    <a:pt x="34" y="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5" name="Freeform 56">
              <a:extLst>
                <a:ext uri="{FF2B5EF4-FFF2-40B4-BE49-F238E27FC236}">
                  <a16:creationId xmlns:a16="http://schemas.microsoft.com/office/drawing/2014/main" id="{26397013-A463-4C15-816B-D1A4BECE8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9300" y="2352676"/>
              <a:ext cx="100013" cy="100013"/>
            </a:xfrm>
            <a:custGeom>
              <a:avLst/>
              <a:gdLst/>
              <a:ahLst/>
              <a:cxnLst>
                <a:cxn ang="0">
                  <a:pos x="13" y="122"/>
                </a:cxn>
                <a:cxn ang="0">
                  <a:pos x="32" y="114"/>
                </a:cxn>
                <a:cxn ang="0">
                  <a:pos x="32" y="114"/>
                </a:cxn>
                <a:cxn ang="0">
                  <a:pos x="30" y="97"/>
                </a:cxn>
                <a:cxn ang="0">
                  <a:pos x="30" y="97"/>
                </a:cxn>
                <a:cxn ang="0">
                  <a:pos x="30" y="84"/>
                </a:cxn>
                <a:cxn ang="0">
                  <a:pos x="34" y="72"/>
                </a:cxn>
                <a:cxn ang="0">
                  <a:pos x="34" y="72"/>
                </a:cxn>
                <a:cxn ang="0">
                  <a:pos x="42" y="61"/>
                </a:cxn>
                <a:cxn ang="0">
                  <a:pos x="49" y="50"/>
                </a:cxn>
                <a:cxn ang="0">
                  <a:pos x="49" y="50"/>
                </a:cxn>
                <a:cxn ang="0">
                  <a:pos x="59" y="42"/>
                </a:cxn>
                <a:cxn ang="0">
                  <a:pos x="70" y="36"/>
                </a:cxn>
                <a:cxn ang="0">
                  <a:pos x="70" y="36"/>
                </a:cxn>
                <a:cxn ang="0">
                  <a:pos x="82" y="32"/>
                </a:cxn>
                <a:cxn ang="0">
                  <a:pos x="91" y="31"/>
                </a:cxn>
                <a:cxn ang="0">
                  <a:pos x="103" y="31"/>
                </a:cxn>
                <a:cxn ang="0">
                  <a:pos x="112" y="32"/>
                </a:cxn>
                <a:cxn ang="0">
                  <a:pos x="125" y="4"/>
                </a:cxn>
                <a:cxn ang="0">
                  <a:pos x="125" y="4"/>
                </a:cxn>
                <a:cxn ang="0">
                  <a:pos x="110" y="0"/>
                </a:cxn>
                <a:cxn ang="0">
                  <a:pos x="97" y="0"/>
                </a:cxn>
                <a:cxn ang="0">
                  <a:pos x="97" y="0"/>
                </a:cxn>
                <a:cxn ang="0">
                  <a:pos x="78" y="2"/>
                </a:cxn>
                <a:cxn ang="0">
                  <a:pos x="59" y="8"/>
                </a:cxn>
                <a:cxn ang="0">
                  <a:pos x="59" y="8"/>
                </a:cxn>
                <a:cxn ang="0">
                  <a:pos x="42" y="17"/>
                </a:cxn>
                <a:cxn ang="0">
                  <a:pos x="28" y="29"/>
                </a:cxn>
                <a:cxn ang="0">
                  <a:pos x="28" y="29"/>
                </a:cxn>
                <a:cxn ang="0">
                  <a:pos x="15" y="44"/>
                </a:cxn>
                <a:cxn ang="0">
                  <a:pos x="5" y="61"/>
                </a:cxn>
                <a:cxn ang="0">
                  <a:pos x="5" y="61"/>
                </a:cxn>
                <a:cxn ang="0">
                  <a:pos x="2" y="78"/>
                </a:cxn>
                <a:cxn ang="0">
                  <a:pos x="0" y="97"/>
                </a:cxn>
                <a:cxn ang="0">
                  <a:pos x="0" y="97"/>
                </a:cxn>
                <a:cxn ang="0">
                  <a:pos x="0" y="112"/>
                </a:cxn>
                <a:cxn ang="0">
                  <a:pos x="4" y="126"/>
                </a:cxn>
                <a:cxn ang="0">
                  <a:pos x="13" y="122"/>
                </a:cxn>
              </a:cxnLst>
              <a:rect l="0" t="0" r="r" b="b"/>
              <a:pathLst>
                <a:path w="125" h="126">
                  <a:moveTo>
                    <a:pt x="13" y="122"/>
                  </a:moveTo>
                  <a:lnTo>
                    <a:pt x="32" y="114"/>
                  </a:lnTo>
                  <a:lnTo>
                    <a:pt x="32" y="114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84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42" y="61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9" y="42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82" y="32"/>
                  </a:lnTo>
                  <a:lnTo>
                    <a:pt x="91" y="31"/>
                  </a:lnTo>
                  <a:lnTo>
                    <a:pt x="103" y="31"/>
                  </a:lnTo>
                  <a:lnTo>
                    <a:pt x="112" y="32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10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78" y="2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42" y="17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15" y="44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2" y="78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112"/>
                  </a:lnTo>
                  <a:lnTo>
                    <a:pt x="4" y="126"/>
                  </a:lnTo>
                  <a:lnTo>
                    <a:pt x="13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6" name="Freeform 57">
              <a:extLst>
                <a:ext uri="{FF2B5EF4-FFF2-40B4-BE49-F238E27FC236}">
                  <a16:creationId xmlns:a16="http://schemas.microsoft.com/office/drawing/2014/main" id="{5AEC98B0-3D3E-4AC7-8DBC-F9EF18093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5" y="2457451"/>
              <a:ext cx="90488" cy="49213"/>
            </a:xfrm>
            <a:custGeom>
              <a:avLst/>
              <a:gdLst/>
              <a:ahLst/>
              <a:cxnLst>
                <a:cxn ang="0">
                  <a:pos x="59" y="28"/>
                </a:cxn>
                <a:cxn ang="0">
                  <a:pos x="59" y="28"/>
                </a:cxn>
                <a:cxn ang="0">
                  <a:pos x="48" y="20"/>
                </a:cxn>
                <a:cxn ang="0">
                  <a:pos x="38" y="13"/>
                </a:cxn>
                <a:cxn ang="0">
                  <a:pos x="38" y="13"/>
                </a:cxn>
                <a:cxn ang="0">
                  <a:pos x="29" y="0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8" y="24"/>
                </a:cxn>
                <a:cxn ang="0">
                  <a:pos x="17" y="34"/>
                </a:cxn>
                <a:cxn ang="0">
                  <a:pos x="17" y="34"/>
                </a:cxn>
                <a:cxn ang="0">
                  <a:pos x="31" y="47"/>
                </a:cxn>
                <a:cxn ang="0">
                  <a:pos x="48" y="57"/>
                </a:cxn>
                <a:cxn ang="0">
                  <a:pos x="48" y="57"/>
                </a:cxn>
                <a:cxn ang="0">
                  <a:pos x="65" y="60"/>
                </a:cxn>
                <a:cxn ang="0">
                  <a:pos x="80" y="62"/>
                </a:cxn>
                <a:cxn ang="0">
                  <a:pos x="97" y="62"/>
                </a:cxn>
                <a:cxn ang="0">
                  <a:pos x="114" y="59"/>
                </a:cxn>
                <a:cxn ang="0">
                  <a:pos x="101" y="30"/>
                </a:cxn>
                <a:cxn ang="0">
                  <a:pos x="101" y="30"/>
                </a:cxn>
                <a:cxn ang="0">
                  <a:pos x="92" y="32"/>
                </a:cxn>
                <a:cxn ang="0">
                  <a:pos x="80" y="32"/>
                </a:cxn>
                <a:cxn ang="0">
                  <a:pos x="71" y="30"/>
                </a:cxn>
                <a:cxn ang="0">
                  <a:pos x="59" y="28"/>
                </a:cxn>
                <a:cxn ang="0">
                  <a:pos x="59" y="28"/>
                </a:cxn>
              </a:cxnLst>
              <a:rect l="0" t="0" r="r" b="b"/>
              <a:pathLst>
                <a:path w="114" h="62">
                  <a:moveTo>
                    <a:pt x="59" y="28"/>
                  </a:moveTo>
                  <a:lnTo>
                    <a:pt x="59" y="28"/>
                  </a:lnTo>
                  <a:lnTo>
                    <a:pt x="48" y="20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29" y="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8" y="2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31" y="4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65" y="60"/>
                  </a:lnTo>
                  <a:lnTo>
                    <a:pt x="80" y="62"/>
                  </a:lnTo>
                  <a:lnTo>
                    <a:pt x="97" y="62"/>
                  </a:lnTo>
                  <a:lnTo>
                    <a:pt x="114" y="5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92" y="32"/>
                  </a:lnTo>
                  <a:lnTo>
                    <a:pt x="80" y="32"/>
                  </a:lnTo>
                  <a:lnTo>
                    <a:pt x="71" y="30"/>
                  </a:lnTo>
                  <a:lnTo>
                    <a:pt x="59" y="28"/>
                  </a:lnTo>
                  <a:lnTo>
                    <a:pt x="59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87" name="TextBox 486">
            <a:hlinkClick r:id="rId11"/>
            <a:extLst>
              <a:ext uri="{FF2B5EF4-FFF2-40B4-BE49-F238E27FC236}">
                <a16:creationId xmlns:a16="http://schemas.microsoft.com/office/drawing/2014/main" id="{F1AD1FC1-000E-422C-A1BF-C6BD6748C54C}"/>
              </a:ext>
            </a:extLst>
          </p:cNvPr>
          <p:cNvSpPr txBox="1"/>
          <p:nvPr/>
        </p:nvSpPr>
        <p:spPr>
          <a:xfrm>
            <a:off x="725715" y="6611996"/>
            <a:ext cx="793908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Source:</a:t>
            </a:r>
            <a:r>
              <a:rPr lang="en-US" sz="800" u="sng" dirty="0">
                <a:solidFill>
                  <a:srgbClr val="0070C0"/>
                </a:solidFill>
              </a:rPr>
              <a:t> https://hbr.org/2014/07/what-you-need-to-know-about-segmentation</a:t>
            </a:r>
          </a:p>
        </p:txBody>
      </p:sp>
    </p:spTree>
    <p:extLst>
      <p:ext uri="{BB962C8B-B14F-4D97-AF65-F5344CB8AC3E}">
        <p14:creationId xmlns:p14="http://schemas.microsoft.com/office/powerpoint/2010/main" val="328476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0F77D7-121E-43DD-B28A-BBE2BA2B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FB7E58-18AE-4179-B44B-D28FB3CF73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5" y="474814"/>
            <a:ext cx="10801350" cy="469749"/>
          </a:xfrm>
        </p:spPr>
        <p:txBody>
          <a:bodyPr/>
          <a:lstStyle/>
          <a:p>
            <a:r>
              <a:rPr lang="en-US" sz="3200" b="0" dirty="0"/>
              <a:t>CUSTOMER PRO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C8365B-B0D0-4316-90D9-71BB8A4A0556}"/>
              </a:ext>
            </a:extLst>
          </p:cNvPr>
          <p:cNvSpPr/>
          <p:nvPr/>
        </p:nvSpPr>
        <p:spPr>
          <a:xfrm>
            <a:off x="695325" y="4350282"/>
            <a:ext cx="2355524" cy="196569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B1CE3B"/>
                </a:solidFill>
                <a:latin typeface="Avenir Next LT Pro"/>
              </a:rPr>
              <a:t>TH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1CE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D LOVER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dian Ag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: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7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dian Incom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: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$ 68k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verage education: 18 years</a:t>
            </a:r>
            <a:endParaRPr lang="en-US" sz="1200" i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C4DE7B-713B-4129-8B48-98D1B2852726}"/>
              </a:ext>
            </a:extLst>
          </p:cNvPr>
          <p:cNvSpPr/>
          <p:nvPr/>
        </p:nvSpPr>
        <p:spPr>
          <a:xfrm>
            <a:off x="3202138" y="3721694"/>
            <a:ext cx="2886836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L="136525" indent="-136525"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D342A1-E4DA-4A70-A0FD-41320F642DC0}"/>
              </a:ext>
            </a:extLst>
          </p:cNvPr>
          <p:cNvSpPr/>
          <p:nvPr/>
        </p:nvSpPr>
        <p:spPr>
          <a:xfrm>
            <a:off x="3278227" y="3616398"/>
            <a:ext cx="1879559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Key characteristi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F2CC6-6FA8-4DCA-8E9F-B6C28CF19795}"/>
              </a:ext>
            </a:extLst>
          </p:cNvPr>
          <p:cNvSpPr/>
          <p:nvPr/>
        </p:nvSpPr>
        <p:spPr>
          <a:xfrm>
            <a:off x="6303870" y="3720964"/>
            <a:ext cx="5507130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aboration with web-food-company (e.g. cheese, beef steak)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mo-code for partner restaurant for family dining or take-home order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nvite to red wine tasting workshop of </a:t>
            </a:r>
            <a:r>
              <a:rPr lang="en-US" sz="1200">
                <a:solidFill>
                  <a:schemeClr val="tx1"/>
                </a:solidFill>
              </a:rPr>
              <a:t>the company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830121-44FF-456B-B4B2-A6FB08E8487C}"/>
              </a:ext>
            </a:extLst>
          </p:cNvPr>
          <p:cNvSpPr/>
          <p:nvPr/>
        </p:nvSpPr>
        <p:spPr>
          <a:xfrm>
            <a:off x="6389330" y="3606143"/>
            <a:ext cx="1811707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Marketing approaches</a:t>
            </a:r>
          </a:p>
        </p:txBody>
      </p:sp>
      <p:pic>
        <p:nvPicPr>
          <p:cNvPr id="87" name="Picture 2" descr="Man and Woman in Business Suits Sitting at Table">
            <a:extLst>
              <a:ext uri="{FF2B5EF4-FFF2-40B4-BE49-F238E27FC236}">
                <a16:creationId xmlns:a16="http://schemas.microsoft.com/office/drawing/2014/main" id="{BC38FF6C-8090-4DD4-AE52-7FA6189FA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1155157"/>
            <a:ext cx="2355524" cy="319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id="{BE770853-3321-4491-82A0-E365715313A9}"/>
              </a:ext>
            </a:extLst>
          </p:cNvPr>
          <p:cNvSpPr/>
          <p:nvPr/>
        </p:nvSpPr>
        <p:spPr>
          <a:xfrm>
            <a:off x="3209986" y="1132864"/>
            <a:ext cx="2870442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>
              <a:buClr>
                <a:schemeClr val="tx2"/>
              </a:buClr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680CE37-B78A-408F-9E13-DAEB4C1B3BB0}"/>
              </a:ext>
            </a:extLst>
          </p:cNvPr>
          <p:cNvSpPr/>
          <p:nvPr/>
        </p:nvSpPr>
        <p:spPr>
          <a:xfrm>
            <a:off x="3301240" y="1006864"/>
            <a:ext cx="1425715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Favorite win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1C06623-F31D-4D47-AF76-453FB788BC63}"/>
              </a:ext>
            </a:extLst>
          </p:cNvPr>
          <p:cNvSpPr txBox="1"/>
          <p:nvPr/>
        </p:nvSpPr>
        <p:spPr>
          <a:xfrm>
            <a:off x="3233584" y="1279340"/>
            <a:ext cx="107889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b="1">
                <a:solidFill>
                  <a:schemeClr val="tx1"/>
                </a:solidFill>
              </a:rPr>
              <a:t>Dry red wine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4811107-2571-4A09-BD1B-FB35E620DCC1}"/>
              </a:ext>
            </a:extLst>
          </p:cNvPr>
          <p:cNvSpPr txBox="1"/>
          <p:nvPr/>
        </p:nvSpPr>
        <p:spPr>
          <a:xfrm>
            <a:off x="3223986" y="1583196"/>
            <a:ext cx="123814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b="1">
                <a:solidFill>
                  <a:schemeClr val="tx1"/>
                </a:solidFill>
              </a:rPr>
              <a:t>Dry white wine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75DC0DF-46FA-4CD6-8FB0-A371DADE6EDB}"/>
              </a:ext>
            </a:extLst>
          </p:cNvPr>
          <p:cNvSpPr txBox="1"/>
          <p:nvPr/>
        </p:nvSpPr>
        <p:spPr>
          <a:xfrm>
            <a:off x="3238971" y="1887052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Sweet / </a:t>
            </a:r>
            <a:r>
              <a:rPr lang="en-US" sz="1000" dirty="0"/>
              <a:t>S</a:t>
            </a:r>
            <a:r>
              <a:rPr lang="en-US" sz="1000" dirty="0">
                <a:solidFill>
                  <a:schemeClr val="tx1"/>
                </a:solidFill>
              </a:rPr>
              <a:t>emi-dry reds wine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C85BEA4-BB4F-4272-96DE-F314AB202E9B}"/>
              </a:ext>
            </a:extLst>
          </p:cNvPr>
          <p:cNvSpPr txBox="1"/>
          <p:nvPr/>
        </p:nvSpPr>
        <p:spPr>
          <a:xfrm>
            <a:off x="3232226" y="2283837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 dirty="0">
                <a:solidFill>
                  <a:schemeClr val="tx1"/>
                </a:solidFill>
              </a:rPr>
              <a:t>Sweet / Semi-dry white wines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F330415-90EA-4DB9-B468-4C0B7F722696}"/>
              </a:ext>
            </a:extLst>
          </p:cNvPr>
          <p:cNvSpPr txBox="1"/>
          <p:nvPr/>
        </p:nvSpPr>
        <p:spPr>
          <a:xfrm>
            <a:off x="3238971" y="2726342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essert wine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D44B7EB-7BE5-4EEC-BAB7-333548C099A2}"/>
              </a:ext>
            </a:extLst>
          </p:cNvPr>
          <p:cNvSpPr txBox="1"/>
          <p:nvPr/>
        </p:nvSpPr>
        <p:spPr>
          <a:xfrm>
            <a:off x="3233584" y="3083540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Unusual wines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E201167D-9784-442D-B08E-10CD55EDDDC4}"/>
              </a:ext>
            </a:extLst>
          </p:cNvPr>
          <p:cNvGrpSpPr/>
          <p:nvPr/>
        </p:nvGrpSpPr>
        <p:grpSpPr>
          <a:xfrm>
            <a:off x="4324786" y="1269332"/>
            <a:ext cx="1400458" cy="246221"/>
            <a:chOff x="4114269" y="1294970"/>
            <a:chExt cx="1400458" cy="246221"/>
          </a:xfrm>
        </p:grpSpPr>
        <p:pic>
          <p:nvPicPr>
            <p:cNvPr id="97" name="Graphic 96" descr="Bottle">
              <a:extLst>
                <a:ext uri="{FF2B5EF4-FFF2-40B4-BE49-F238E27FC236}">
                  <a16:creationId xmlns:a16="http://schemas.microsoft.com/office/drawing/2014/main" id="{C5894311-A189-4A26-BF60-0800310AF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14269" y="1294970"/>
              <a:ext cx="246221" cy="246221"/>
            </a:xfrm>
            <a:prstGeom prst="rect">
              <a:avLst/>
            </a:prstGeom>
          </p:spPr>
        </p:pic>
        <p:pic>
          <p:nvPicPr>
            <p:cNvPr id="120" name="Graphic 119" descr="Bottle">
              <a:extLst>
                <a:ext uri="{FF2B5EF4-FFF2-40B4-BE49-F238E27FC236}">
                  <a16:creationId xmlns:a16="http://schemas.microsoft.com/office/drawing/2014/main" id="{6E2053CB-F902-4795-B3BD-B43256EC3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79160" y="1294970"/>
              <a:ext cx="246221" cy="246221"/>
            </a:xfrm>
            <a:prstGeom prst="rect">
              <a:avLst/>
            </a:prstGeom>
          </p:spPr>
        </p:pic>
        <p:pic>
          <p:nvPicPr>
            <p:cNvPr id="121" name="Graphic 120" descr="Bottle">
              <a:extLst>
                <a:ext uri="{FF2B5EF4-FFF2-40B4-BE49-F238E27FC236}">
                  <a16:creationId xmlns:a16="http://schemas.microsoft.com/office/drawing/2014/main" id="{1B041FCA-C1B1-401E-A389-8F25CC561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44051" y="1294970"/>
              <a:ext cx="246221" cy="246221"/>
            </a:xfrm>
            <a:prstGeom prst="rect">
              <a:avLst/>
            </a:prstGeom>
          </p:spPr>
        </p:pic>
        <p:pic>
          <p:nvPicPr>
            <p:cNvPr id="122" name="Graphic 121" descr="Bottle">
              <a:extLst>
                <a:ext uri="{FF2B5EF4-FFF2-40B4-BE49-F238E27FC236}">
                  <a16:creationId xmlns:a16="http://schemas.microsoft.com/office/drawing/2014/main" id="{A325BD9C-E005-413E-A550-71347ED83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08942" y="1294970"/>
              <a:ext cx="246221" cy="246221"/>
            </a:xfrm>
            <a:prstGeom prst="rect">
              <a:avLst/>
            </a:prstGeom>
          </p:spPr>
        </p:pic>
        <p:pic>
          <p:nvPicPr>
            <p:cNvPr id="124" name="Graphic 123" descr="Bottle">
              <a:extLst>
                <a:ext uri="{FF2B5EF4-FFF2-40B4-BE49-F238E27FC236}">
                  <a16:creationId xmlns:a16="http://schemas.microsoft.com/office/drawing/2014/main" id="{F417AD15-C377-4DD3-9744-114F5F6BC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73833" y="1294970"/>
              <a:ext cx="246221" cy="246221"/>
            </a:xfrm>
            <a:prstGeom prst="rect">
              <a:avLst/>
            </a:prstGeom>
          </p:spPr>
        </p:pic>
        <p:pic>
          <p:nvPicPr>
            <p:cNvPr id="125" name="Graphic 124" descr="Bottle">
              <a:extLst>
                <a:ext uri="{FF2B5EF4-FFF2-40B4-BE49-F238E27FC236}">
                  <a16:creationId xmlns:a16="http://schemas.microsoft.com/office/drawing/2014/main" id="{B113FAA8-F00A-40EE-A6D4-69D51CE52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38724" y="1294970"/>
              <a:ext cx="246221" cy="246221"/>
            </a:xfrm>
            <a:prstGeom prst="rect">
              <a:avLst/>
            </a:prstGeom>
          </p:spPr>
        </p:pic>
        <p:pic>
          <p:nvPicPr>
            <p:cNvPr id="126" name="Graphic 125" descr="Bottle">
              <a:extLst>
                <a:ext uri="{FF2B5EF4-FFF2-40B4-BE49-F238E27FC236}">
                  <a16:creationId xmlns:a16="http://schemas.microsoft.com/office/drawing/2014/main" id="{C74AA6B9-5E8D-40E3-A1D1-D84F09DB7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03615" y="1294970"/>
              <a:ext cx="246221" cy="246221"/>
            </a:xfrm>
            <a:prstGeom prst="rect">
              <a:avLst/>
            </a:prstGeom>
          </p:spPr>
        </p:pic>
        <p:pic>
          <p:nvPicPr>
            <p:cNvPr id="127" name="Graphic 126" descr="Bottle">
              <a:extLst>
                <a:ext uri="{FF2B5EF4-FFF2-40B4-BE49-F238E27FC236}">
                  <a16:creationId xmlns:a16="http://schemas.microsoft.com/office/drawing/2014/main" id="{67A4CE16-E991-4A36-B392-3F51BEC0A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8506" y="1294970"/>
              <a:ext cx="246221" cy="246221"/>
            </a:xfrm>
            <a:prstGeom prst="rect">
              <a:avLst/>
            </a:prstGeom>
          </p:spPr>
        </p:pic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79470F5-567F-4BC3-830A-B73B375D16CD}"/>
              </a:ext>
            </a:extLst>
          </p:cNvPr>
          <p:cNvGrpSpPr/>
          <p:nvPr/>
        </p:nvGrpSpPr>
        <p:grpSpPr>
          <a:xfrm>
            <a:off x="4323713" y="1605173"/>
            <a:ext cx="411112" cy="246221"/>
            <a:chOff x="6240538" y="2132963"/>
            <a:chExt cx="411112" cy="246221"/>
          </a:xfrm>
        </p:grpSpPr>
        <p:pic>
          <p:nvPicPr>
            <p:cNvPr id="130" name="Graphic 129" descr="Bottle">
              <a:extLst>
                <a:ext uri="{FF2B5EF4-FFF2-40B4-BE49-F238E27FC236}">
                  <a16:creationId xmlns:a16="http://schemas.microsoft.com/office/drawing/2014/main" id="{023027B9-8FEE-4701-888A-9DD2A20927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40538" y="2132963"/>
              <a:ext cx="246221" cy="246221"/>
            </a:xfrm>
            <a:prstGeom prst="rect">
              <a:avLst/>
            </a:prstGeom>
          </p:spPr>
        </p:pic>
        <p:pic>
          <p:nvPicPr>
            <p:cNvPr id="131" name="Graphic 130" descr="Bottle">
              <a:extLst>
                <a:ext uri="{FF2B5EF4-FFF2-40B4-BE49-F238E27FC236}">
                  <a16:creationId xmlns:a16="http://schemas.microsoft.com/office/drawing/2014/main" id="{959D415B-4072-4EFE-93F5-1C7CDD506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05429" y="2132963"/>
              <a:ext cx="246221" cy="246221"/>
            </a:xfrm>
            <a:prstGeom prst="rect">
              <a:avLst/>
            </a:prstGeom>
          </p:spPr>
        </p:pic>
      </p:grpSp>
      <p:sp>
        <p:nvSpPr>
          <p:cNvPr id="242" name="TextBox 241">
            <a:extLst>
              <a:ext uri="{FF2B5EF4-FFF2-40B4-BE49-F238E27FC236}">
                <a16:creationId xmlns:a16="http://schemas.microsoft.com/office/drawing/2014/main" id="{2E6676BC-3743-43BF-AB93-0610EB52254E}"/>
              </a:ext>
            </a:extLst>
          </p:cNvPr>
          <p:cNvSpPr txBox="1"/>
          <p:nvPr/>
        </p:nvSpPr>
        <p:spPr>
          <a:xfrm>
            <a:off x="3958220" y="4090063"/>
            <a:ext cx="19555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200" b="1">
                <a:solidFill>
                  <a:schemeClr val="tx1"/>
                </a:solidFill>
              </a:rPr>
              <a:t>Live with teenage kids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4D2A41B5-B086-4248-A745-1CA39A56E00D}"/>
              </a:ext>
            </a:extLst>
          </p:cNvPr>
          <p:cNvSpPr txBox="1"/>
          <p:nvPr/>
        </p:nvSpPr>
        <p:spPr>
          <a:xfrm>
            <a:off x="3971078" y="4762453"/>
            <a:ext cx="21178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200" b="1">
                <a:solidFill>
                  <a:schemeClr val="tx1"/>
                </a:solidFill>
              </a:rPr>
              <a:t>High frequency web-purchases</a:t>
            </a:r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76792F63-791F-4AE7-BBC5-2881B244DB10}"/>
              </a:ext>
            </a:extLst>
          </p:cNvPr>
          <p:cNvGrpSpPr/>
          <p:nvPr/>
        </p:nvGrpSpPr>
        <p:grpSpPr>
          <a:xfrm>
            <a:off x="3418399" y="4656373"/>
            <a:ext cx="509588" cy="487211"/>
            <a:chOff x="273050" y="2873375"/>
            <a:chExt cx="1112838" cy="1111250"/>
          </a:xfrm>
        </p:grpSpPr>
        <p:sp>
          <p:nvSpPr>
            <p:cNvPr id="251" name="Freeform 15">
              <a:extLst>
                <a:ext uri="{FF2B5EF4-FFF2-40B4-BE49-F238E27FC236}">
                  <a16:creationId xmlns:a16="http://schemas.microsoft.com/office/drawing/2014/main" id="{F135F2A6-0980-4262-A558-0E96C4F6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" y="2873375"/>
              <a:ext cx="1112838" cy="1111250"/>
            </a:xfrm>
            <a:custGeom>
              <a:avLst/>
              <a:gdLst>
                <a:gd name="T0" fmla="*/ 333 w 701"/>
                <a:gd name="T1" fmla="*/ 700 h 700"/>
                <a:gd name="T2" fmla="*/ 280 w 701"/>
                <a:gd name="T3" fmla="*/ 693 h 700"/>
                <a:gd name="T4" fmla="*/ 231 w 701"/>
                <a:gd name="T5" fmla="*/ 679 h 700"/>
                <a:gd name="T6" fmla="*/ 184 w 701"/>
                <a:gd name="T7" fmla="*/ 658 h 700"/>
                <a:gd name="T8" fmla="*/ 141 w 701"/>
                <a:gd name="T9" fmla="*/ 631 h 700"/>
                <a:gd name="T10" fmla="*/ 102 w 701"/>
                <a:gd name="T11" fmla="*/ 598 h 700"/>
                <a:gd name="T12" fmla="*/ 70 w 701"/>
                <a:gd name="T13" fmla="*/ 560 h 700"/>
                <a:gd name="T14" fmla="*/ 43 w 701"/>
                <a:gd name="T15" fmla="*/ 517 h 700"/>
                <a:gd name="T16" fmla="*/ 21 w 701"/>
                <a:gd name="T17" fmla="*/ 471 h 700"/>
                <a:gd name="T18" fmla="*/ 7 w 701"/>
                <a:gd name="T19" fmla="*/ 420 h 700"/>
                <a:gd name="T20" fmla="*/ 1 w 701"/>
                <a:gd name="T21" fmla="*/ 369 h 700"/>
                <a:gd name="T22" fmla="*/ 1 w 701"/>
                <a:gd name="T23" fmla="*/ 331 h 700"/>
                <a:gd name="T24" fmla="*/ 7 w 701"/>
                <a:gd name="T25" fmla="*/ 280 h 700"/>
                <a:gd name="T26" fmla="*/ 21 w 701"/>
                <a:gd name="T27" fmla="*/ 229 h 700"/>
                <a:gd name="T28" fmla="*/ 43 w 701"/>
                <a:gd name="T29" fmla="*/ 183 h 700"/>
                <a:gd name="T30" fmla="*/ 70 w 701"/>
                <a:gd name="T31" fmla="*/ 140 h 700"/>
                <a:gd name="T32" fmla="*/ 102 w 701"/>
                <a:gd name="T33" fmla="*/ 102 h 700"/>
                <a:gd name="T34" fmla="*/ 141 w 701"/>
                <a:gd name="T35" fmla="*/ 69 h 700"/>
                <a:gd name="T36" fmla="*/ 184 w 701"/>
                <a:gd name="T37" fmla="*/ 42 h 700"/>
                <a:gd name="T38" fmla="*/ 231 w 701"/>
                <a:gd name="T39" fmla="*/ 21 h 700"/>
                <a:gd name="T40" fmla="*/ 280 w 701"/>
                <a:gd name="T41" fmla="*/ 7 h 700"/>
                <a:gd name="T42" fmla="*/ 333 w 701"/>
                <a:gd name="T43" fmla="*/ 0 h 700"/>
                <a:gd name="T44" fmla="*/ 369 w 701"/>
                <a:gd name="T45" fmla="*/ 0 h 700"/>
                <a:gd name="T46" fmla="*/ 422 w 701"/>
                <a:gd name="T47" fmla="*/ 7 h 700"/>
                <a:gd name="T48" fmla="*/ 471 w 701"/>
                <a:gd name="T49" fmla="*/ 21 h 700"/>
                <a:gd name="T50" fmla="*/ 518 w 701"/>
                <a:gd name="T51" fmla="*/ 42 h 700"/>
                <a:gd name="T52" fmla="*/ 560 w 701"/>
                <a:gd name="T53" fmla="*/ 69 h 700"/>
                <a:gd name="T54" fmla="*/ 598 w 701"/>
                <a:gd name="T55" fmla="*/ 102 h 700"/>
                <a:gd name="T56" fmla="*/ 631 w 701"/>
                <a:gd name="T57" fmla="*/ 140 h 700"/>
                <a:gd name="T58" fmla="*/ 659 w 701"/>
                <a:gd name="T59" fmla="*/ 183 h 700"/>
                <a:gd name="T60" fmla="*/ 680 w 701"/>
                <a:gd name="T61" fmla="*/ 229 h 700"/>
                <a:gd name="T62" fmla="*/ 694 w 701"/>
                <a:gd name="T63" fmla="*/ 280 h 700"/>
                <a:gd name="T64" fmla="*/ 701 w 701"/>
                <a:gd name="T65" fmla="*/ 331 h 700"/>
                <a:gd name="T66" fmla="*/ 701 w 701"/>
                <a:gd name="T67" fmla="*/ 369 h 700"/>
                <a:gd name="T68" fmla="*/ 694 w 701"/>
                <a:gd name="T69" fmla="*/ 420 h 700"/>
                <a:gd name="T70" fmla="*/ 680 w 701"/>
                <a:gd name="T71" fmla="*/ 471 h 700"/>
                <a:gd name="T72" fmla="*/ 659 w 701"/>
                <a:gd name="T73" fmla="*/ 517 h 700"/>
                <a:gd name="T74" fmla="*/ 631 w 701"/>
                <a:gd name="T75" fmla="*/ 560 h 700"/>
                <a:gd name="T76" fmla="*/ 598 w 701"/>
                <a:gd name="T77" fmla="*/ 598 h 700"/>
                <a:gd name="T78" fmla="*/ 560 w 701"/>
                <a:gd name="T79" fmla="*/ 631 h 700"/>
                <a:gd name="T80" fmla="*/ 518 w 701"/>
                <a:gd name="T81" fmla="*/ 658 h 700"/>
                <a:gd name="T82" fmla="*/ 471 w 701"/>
                <a:gd name="T83" fmla="*/ 679 h 700"/>
                <a:gd name="T84" fmla="*/ 422 w 701"/>
                <a:gd name="T85" fmla="*/ 693 h 700"/>
                <a:gd name="T86" fmla="*/ 369 w 701"/>
                <a:gd name="T87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1" h="700">
                  <a:moveTo>
                    <a:pt x="350" y="700"/>
                  </a:moveTo>
                  <a:lnTo>
                    <a:pt x="350" y="700"/>
                  </a:lnTo>
                  <a:lnTo>
                    <a:pt x="333" y="700"/>
                  </a:lnTo>
                  <a:lnTo>
                    <a:pt x="315" y="699"/>
                  </a:lnTo>
                  <a:lnTo>
                    <a:pt x="297" y="697"/>
                  </a:lnTo>
                  <a:lnTo>
                    <a:pt x="280" y="693"/>
                  </a:lnTo>
                  <a:lnTo>
                    <a:pt x="263" y="689"/>
                  </a:lnTo>
                  <a:lnTo>
                    <a:pt x="247" y="684"/>
                  </a:lnTo>
                  <a:lnTo>
                    <a:pt x="231" y="679"/>
                  </a:lnTo>
                  <a:lnTo>
                    <a:pt x="215" y="673"/>
                  </a:lnTo>
                  <a:lnTo>
                    <a:pt x="199" y="666"/>
                  </a:lnTo>
                  <a:lnTo>
                    <a:pt x="184" y="658"/>
                  </a:lnTo>
                  <a:lnTo>
                    <a:pt x="169" y="650"/>
                  </a:lnTo>
                  <a:lnTo>
                    <a:pt x="155" y="641"/>
                  </a:lnTo>
                  <a:lnTo>
                    <a:pt x="141" y="631"/>
                  </a:lnTo>
                  <a:lnTo>
                    <a:pt x="128" y="620"/>
                  </a:lnTo>
                  <a:lnTo>
                    <a:pt x="115" y="609"/>
                  </a:lnTo>
                  <a:lnTo>
                    <a:pt x="102" y="598"/>
                  </a:lnTo>
                  <a:lnTo>
                    <a:pt x="91" y="586"/>
                  </a:lnTo>
                  <a:lnTo>
                    <a:pt x="80" y="573"/>
                  </a:lnTo>
                  <a:lnTo>
                    <a:pt x="70" y="560"/>
                  </a:lnTo>
                  <a:lnTo>
                    <a:pt x="60" y="546"/>
                  </a:lnTo>
                  <a:lnTo>
                    <a:pt x="51" y="531"/>
                  </a:lnTo>
                  <a:lnTo>
                    <a:pt x="43" y="517"/>
                  </a:lnTo>
                  <a:lnTo>
                    <a:pt x="35" y="502"/>
                  </a:lnTo>
                  <a:lnTo>
                    <a:pt x="28" y="487"/>
                  </a:lnTo>
                  <a:lnTo>
                    <a:pt x="21" y="471"/>
                  </a:lnTo>
                  <a:lnTo>
                    <a:pt x="16" y="454"/>
                  </a:lnTo>
                  <a:lnTo>
                    <a:pt x="11" y="438"/>
                  </a:lnTo>
                  <a:lnTo>
                    <a:pt x="7" y="420"/>
                  </a:lnTo>
                  <a:lnTo>
                    <a:pt x="5" y="403"/>
                  </a:lnTo>
                  <a:lnTo>
                    <a:pt x="2" y="386"/>
                  </a:lnTo>
                  <a:lnTo>
                    <a:pt x="1" y="369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1" y="331"/>
                  </a:lnTo>
                  <a:lnTo>
                    <a:pt x="2" y="314"/>
                  </a:lnTo>
                  <a:lnTo>
                    <a:pt x="5" y="297"/>
                  </a:lnTo>
                  <a:lnTo>
                    <a:pt x="7" y="280"/>
                  </a:lnTo>
                  <a:lnTo>
                    <a:pt x="11" y="262"/>
                  </a:lnTo>
                  <a:lnTo>
                    <a:pt x="16" y="246"/>
                  </a:lnTo>
                  <a:lnTo>
                    <a:pt x="21" y="229"/>
                  </a:lnTo>
                  <a:lnTo>
                    <a:pt x="28" y="213"/>
                  </a:lnTo>
                  <a:lnTo>
                    <a:pt x="35" y="198"/>
                  </a:lnTo>
                  <a:lnTo>
                    <a:pt x="43" y="183"/>
                  </a:lnTo>
                  <a:lnTo>
                    <a:pt x="51" y="169"/>
                  </a:lnTo>
                  <a:lnTo>
                    <a:pt x="60" y="154"/>
                  </a:lnTo>
                  <a:lnTo>
                    <a:pt x="70" y="140"/>
                  </a:lnTo>
                  <a:lnTo>
                    <a:pt x="80" y="127"/>
                  </a:lnTo>
                  <a:lnTo>
                    <a:pt x="91" y="114"/>
                  </a:lnTo>
                  <a:lnTo>
                    <a:pt x="102" y="102"/>
                  </a:lnTo>
                  <a:lnTo>
                    <a:pt x="115" y="91"/>
                  </a:lnTo>
                  <a:lnTo>
                    <a:pt x="128" y="80"/>
                  </a:lnTo>
                  <a:lnTo>
                    <a:pt x="141" y="69"/>
                  </a:lnTo>
                  <a:lnTo>
                    <a:pt x="155" y="59"/>
                  </a:lnTo>
                  <a:lnTo>
                    <a:pt x="169" y="50"/>
                  </a:lnTo>
                  <a:lnTo>
                    <a:pt x="184" y="42"/>
                  </a:lnTo>
                  <a:lnTo>
                    <a:pt x="199" y="34"/>
                  </a:lnTo>
                  <a:lnTo>
                    <a:pt x="215" y="27"/>
                  </a:lnTo>
                  <a:lnTo>
                    <a:pt x="231" y="21"/>
                  </a:lnTo>
                  <a:lnTo>
                    <a:pt x="247" y="16"/>
                  </a:lnTo>
                  <a:lnTo>
                    <a:pt x="263" y="11"/>
                  </a:lnTo>
                  <a:lnTo>
                    <a:pt x="280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1"/>
                  </a:lnTo>
                  <a:lnTo>
                    <a:pt x="405" y="3"/>
                  </a:lnTo>
                  <a:lnTo>
                    <a:pt x="422" y="7"/>
                  </a:lnTo>
                  <a:lnTo>
                    <a:pt x="438" y="11"/>
                  </a:lnTo>
                  <a:lnTo>
                    <a:pt x="455" y="16"/>
                  </a:lnTo>
                  <a:lnTo>
                    <a:pt x="471" y="21"/>
                  </a:lnTo>
                  <a:lnTo>
                    <a:pt x="487" y="27"/>
                  </a:lnTo>
                  <a:lnTo>
                    <a:pt x="503" y="34"/>
                  </a:lnTo>
                  <a:lnTo>
                    <a:pt x="518" y="42"/>
                  </a:lnTo>
                  <a:lnTo>
                    <a:pt x="533" y="50"/>
                  </a:lnTo>
                  <a:lnTo>
                    <a:pt x="546" y="59"/>
                  </a:lnTo>
                  <a:lnTo>
                    <a:pt x="560" y="69"/>
                  </a:lnTo>
                  <a:lnTo>
                    <a:pt x="574" y="80"/>
                  </a:lnTo>
                  <a:lnTo>
                    <a:pt x="586" y="91"/>
                  </a:lnTo>
                  <a:lnTo>
                    <a:pt x="598" y="102"/>
                  </a:lnTo>
                  <a:lnTo>
                    <a:pt x="611" y="114"/>
                  </a:lnTo>
                  <a:lnTo>
                    <a:pt x="622" y="127"/>
                  </a:lnTo>
                  <a:lnTo>
                    <a:pt x="631" y="140"/>
                  </a:lnTo>
                  <a:lnTo>
                    <a:pt x="641" y="154"/>
                  </a:lnTo>
                  <a:lnTo>
                    <a:pt x="650" y="169"/>
                  </a:lnTo>
                  <a:lnTo>
                    <a:pt x="659" y="183"/>
                  </a:lnTo>
                  <a:lnTo>
                    <a:pt x="666" y="198"/>
                  </a:lnTo>
                  <a:lnTo>
                    <a:pt x="673" y="213"/>
                  </a:lnTo>
                  <a:lnTo>
                    <a:pt x="680" y="229"/>
                  </a:lnTo>
                  <a:lnTo>
                    <a:pt x="686" y="246"/>
                  </a:lnTo>
                  <a:lnTo>
                    <a:pt x="691" y="262"/>
                  </a:lnTo>
                  <a:lnTo>
                    <a:pt x="694" y="280"/>
                  </a:lnTo>
                  <a:lnTo>
                    <a:pt x="697" y="297"/>
                  </a:lnTo>
                  <a:lnTo>
                    <a:pt x="699" y="314"/>
                  </a:lnTo>
                  <a:lnTo>
                    <a:pt x="701" y="331"/>
                  </a:lnTo>
                  <a:lnTo>
                    <a:pt x="701" y="350"/>
                  </a:lnTo>
                  <a:lnTo>
                    <a:pt x="701" y="350"/>
                  </a:lnTo>
                  <a:lnTo>
                    <a:pt x="701" y="369"/>
                  </a:lnTo>
                  <a:lnTo>
                    <a:pt x="699" y="386"/>
                  </a:lnTo>
                  <a:lnTo>
                    <a:pt x="697" y="403"/>
                  </a:lnTo>
                  <a:lnTo>
                    <a:pt x="694" y="420"/>
                  </a:lnTo>
                  <a:lnTo>
                    <a:pt x="691" y="438"/>
                  </a:lnTo>
                  <a:lnTo>
                    <a:pt x="686" y="454"/>
                  </a:lnTo>
                  <a:lnTo>
                    <a:pt x="680" y="471"/>
                  </a:lnTo>
                  <a:lnTo>
                    <a:pt x="673" y="487"/>
                  </a:lnTo>
                  <a:lnTo>
                    <a:pt x="666" y="502"/>
                  </a:lnTo>
                  <a:lnTo>
                    <a:pt x="659" y="517"/>
                  </a:lnTo>
                  <a:lnTo>
                    <a:pt x="650" y="531"/>
                  </a:lnTo>
                  <a:lnTo>
                    <a:pt x="641" y="546"/>
                  </a:lnTo>
                  <a:lnTo>
                    <a:pt x="631" y="560"/>
                  </a:lnTo>
                  <a:lnTo>
                    <a:pt x="622" y="573"/>
                  </a:lnTo>
                  <a:lnTo>
                    <a:pt x="611" y="586"/>
                  </a:lnTo>
                  <a:lnTo>
                    <a:pt x="598" y="598"/>
                  </a:lnTo>
                  <a:lnTo>
                    <a:pt x="586" y="609"/>
                  </a:lnTo>
                  <a:lnTo>
                    <a:pt x="574" y="620"/>
                  </a:lnTo>
                  <a:lnTo>
                    <a:pt x="560" y="631"/>
                  </a:lnTo>
                  <a:lnTo>
                    <a:pt x="546" y="641"/>
                  </a:lnTo>
                  <a:lnTo>
                    <a:pt x="533" y="650"/>
                  </a:lnTo>
                  <a:lnTo>
                    <a:pt x="518" y="658"/>
                  </a:lnTo>
                  <a:lnTo>
                    <a:pt x="503" y="666"/>
                  </a:lnTo>
                  <a:lnTo>
                    <a:pt x="487" y="673"/>
                  </a:lnTo>
                  <a:lnTo>
                    <a:pt x="471" y="679"/>
                  </a:lnTo>
                  <a:lnTo>
                    <a:pt x="455" y="684"/>
                  </a:lnTo>
                  <a:lnTo>
                    <a:pt x="438" y="689"/>
                  </a:lnTo>
                  <a:lnTo>
                    <a:pt x="422" y="693"/>
                  </a:lnTo>
                  <a:lnTo>
                    <a:pt x="405" y="697"/>
                  </a:lnTo>
                  <a:lnTo>
                    <a:pt x="386" y="699"/>
                  </a:lnTo>
                  <a:lnTo>
                    <a:pt x="369" y="700"/>
                  </a:lnTo>
                  <a:lnTo>
                    <a:pt x="350" y="700"/>
                  </a:lnTo>
                  <a:lnTo>
                    <a:pt x="350" y="7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Freeform 31">
              <a:extLst>
                <a:ext uri="{FF2B5EF4-FFF2-40B4-BE49-F238E27FC236}">
                  <a16:creationId xmlns:a16="http://schemas.microsoft.com/office/drawing/2014/main" id="{EECE491D-4E61-462B-9ACB-D2503E38A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25" y="3197225"/>
              <a:ext cx="868363" cy="787400"/>
            </a:xfrm>
            <a:custGeom>
              <a:avLst/>
              <a:gdLst>
                <a:gd name="T0" fmla="*/ 202 w 547"/>
                <a:gd name="T1" fmla="*/ 496 h 496"/>
                <a:gd name="T2" fmla="*/ 202 w 547"/>
                <a:gd name="T3" fmla="*/ 496 h 496"/>
                <a:gd name="T4" fmla="*/ 221 w 547"/>
                <a:gd name="T5" fmla="*/ 495 h 496"/>
                <a:gd name="T6" fmla="*/ 238 w 547"/>
                <a:gd name="T7" fmla="*/ 494 h 496"/>
                <a:gd name="T8" fmla="*/ 255 w 547"/>
                <a:gd name="T9" fmla="*/ 491 h 496"/>
                <a:gd name="T10" fmla="*/ 273 w 547"/>
                <a:gd name="T11" fmla="*/ 488 h 496"/>
                <a:gd name="T12" fmla="*/ 289 w 547"/>
                <a:gd name="T13" fmla="*/ 484 h 496"/>
                <a:gd name="T14" fmla="*/ 306 w 547"/>
                <a:gd name="T15" fmla="*/ 479 h 496"/>
                <a:gd name="T16" fmla="*/ 322 w 547"/>
                <a:gd name="T17" fmla="*/ 473 h 496"/>
                <a:gd name="T18" fmla="*/ 337 w 547"/>
                <a:gd name="T19" fmla="*/ 467 h 496"/>
                <a:gd name="T20" fmla="*/ 353 w 547"/>
                <a:gd name="T21" fmla="*/ 461 h 496"/>
                <a:gd name="T22" fmla="*/ 368 w 547"/>
                <a:gd name="T23" fmla="*/ 452 h 496"/>
                <a:gd name="T24" fmla="*/ 381 w 547"/>
                <a:gd name="T25" fmla="*/ 443 h 496"/>
                <a:gd name="T26" fmla="*/ 396 w 547"/>
                <a:gd name="T27" fmla="*/ 435 h 496"/>
                <a:gd name="T28" fmla="*/ 410 w 547"/>
                <a:gd name="T29" fmla="*/ 425 h 496"/>
                <a:gd name="T30" fmla="*/ 422 w 547"/>
                <a:gd name="T31" fmla="*/ 414 h 496"/>
                <a:gd name="T32" fmla="*/ 434 w 547"/>
                <a:gd name="T33" fmla="*/ 404 h 496"/>
                <a:gd name="T34" fmla="*/ 447 w 547"/>
                <a:gd name="T35" fmla="*/ 391 h 496"/>
                <a:gd name="T36" fmla="*/ 458 w 547"/>
                <a:gd name="T37" fmla="*/ 379 h 496"/>
                <a:gd name="T38" fmla="*/ 469 w 547"/>
                <a:gd name="T39" fmla="*/ 367 h 496"/>
                <a:gd name="T40" fmla="*/ 479 w 547"/>
                <a:gd name="T41" fmla="*/ 353 h 496"/>
                <a:gd name="T42" fmla="*/ 489 w 547"/>
                <a:gd name="T43" fmla="*/ 340 h 496"/>
                <a:gd name="T44" fmla="*/ 497 w 547"/>
                <a:gd name="T45" fmla="*/ 326 h 496"/>
                <a:gd name="T46" fmla="*/ 506 w 547"/>
                <a:gd name="T47" fmla="*/ 311 h 496"/>
                <a:gd name="T48" fmla="*/ 513 w 547"/>
                <a:gd name="T49" fmla="*/ 296 h 496"/>
                <a:gd name="T50" fmla="*/ 521 w 547"/>
                <a:gd name="T51" fmla="*/ 280 h 496"/>
                <a:gd name="T52" fmla="*/ 527 w 547"/>
                <a:gd name="T53" fmla="*/ 266 h 496"/>
                <a:gd name="T54" fmla="*/ 532 w 547"/>
                <a:gd name="T55" fmla="*/ 250 h 496"/>
                <a:gd name="T56" fmla="*/ 537 w 547"/>
                <a:gd name="T57" fmla="*/ 232 h 496"/>
                <a:gd name="T58" fmla="*/ 540 w 547"/>
                <a:gd name="T59" fmla="*/ 216 h 496"/>
                <a:gd name="T60" fmla="*/ 543 w 547"/>
                <a:gd name="T61" fmla="*/ 199 h 496"/>
                <a:gd name="T62" fmla="*/ 545 w 547"/>
                <a:gd name="T63" fmla="*/ 182 h 496"/>
                <a:gd name="T64" fmla="*/ 547 w 547"/>
                <a:gd name="T65" fmla="*/ 163 h 496"/>
                <a:gd name="T66" fmla="*/ 547 w 547"/>
                <a:gd name="T67" fmla="*/ 146 h 496"/>
                <a:gd name="T68" fmla="*/ 547 w 547"/>
                <a:gd name="T69" fmla="*/ 146 h 496"/>
                <a:gd name="T70" fmla="*/ 547 w 547"/>
                <a:gd name="T71" fmla="*/ 144 h 496"/>
                <a:gd name="T72" fmla="*/ 408 w 547"/>
                <a:gd name="T73" fmla="*/ 4 h 496"/>
                <a:gd name="T74" fmla="*/ 408 w 547"/>
                <a:gd name="T75" fmla="*/ 4 h 496"/>
                <a:gd name="T76" fmla="*/ 408 w 547"/>
                <a:gd name="T77" fmla="*/ 4 h 496"/>
                <a:gd name="T78" fmla="*/ 405 w 547"/>
                <a:gd name="T79" fmla="*/ 2 h 496"/>
                <a:gd name="T80" fmla="*/ 401 w 547"/>
                <a:gd name="T81" fmla="*/ 0 h 496"/>
                <a:gd name="T82" fmla="*/ 11 w 547"/>
                <a:gd name="T83" fmla="*/ 0 h 496"/>
                <a:gd name="T84" fmla="*/ 11 w 547"/>
                <a:gd name="T85" fmla="*/ 0 h 496"/>
                <a:gd name="T86" fmla="*/ 6 w 547"/>
                <a:gd name="T87" fmla="*/ 2 h 496"/>
                <a:gd name="T88" fmla="*/ 4 w 547"/>
                <a:gd name="T89" fmla="*/ 4 h 496"/>
                <a:gd name="T90" fmla="*/ 1 w 547"/>
                <a:gd name="T91" fmla="*/ 7 h 496"/>
                <a:gd name="T92" fmla="*/ 0 w 547"/>
                <a:gd name="T93" fmla="*/ 10 h 496"/>
                <a:gd name="T94" fmla="*/ 0 w 547"/>
                <a:gd name="T95" fmla="*/ 258 h 496"/>
                <a:gd name="T96" fmla="*/ 0 w 547"/>
                <a:gd name="T97" fmla="*/ 288 h 496"/>
                <a:gd name="T98" fmla="*/ 0 w 547"/>
                <a:gd name="T99" fmla="*/ 288 h 496"/>
                <a:gd name="T100" fmla="*/ 1 w 547"/>
                <a:gd name="T101" fmla="*/ 293 h 496"/>
                <a:gd name="T102" fmla="*/ 4 w 547"/>
                <a:gd name="T103" fmla="*/ 295 h 496"/>
                <a:gd name="T104" fmla="*/ 4 w 547"/>
                <a:gd name="T105" fmla="*/ 296 h 496"/>
                <a:gd name="T106" fmla="*/ 202 w 547"/>
                <a:gd name="T107" fmla="*/ 49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7" h="496">
                  <a:moveTo>
                    <a:pt x="202" y="496"/>
                  </a:moveTo>
                  <a:lnTo>
                    <a:pt x="202" y="496"/>
                  </a:lnTo>
                  <a:lnTo>
                    <a:pt x="221" y="495"/>
                  </a:lnTo>
                  <a:lnTo>
                    <a:pt x="238" y="494"/>
                  </a:lnTo>
                  <a:lnTo>
                    <a:pt x="255" y="491"/>
                  </a:lnTo>
                  <a:lnTo>
                    <a:pt x="273" y="488"/>
                  </a:lnTo>
                  <a:lnTo>
                    <a:pt x="289" y="484"/>
                  </a:lnTo>
                  <a:lnTo>
                    <a:pt x="306" y="479"/>
                  </a:lnTo>
                  <a:lnTo>
                    <a:pt x="322" y="473"/>
                  </a:lnTo>
                  <a:lnTo>
                    <a:pt x="337" y="467"/>
                  </a:lnTo>
                  <a:lnTo>
                    <a:pt x="353" y="461"/>
                  </a:lnTo>
                  <a:lnTo>
                    <a:pt x="368" y="452"/>
                  </a:lnTo>
                  <a:lnTo>
                    <a:pt x="381" y="443"/>
                  </a:lnTo>
                  <a:lnTo>
                    <a:pt x="396" y="435"/>
                  </a:lnTo>
                  <a:lnTo>
                    <a:pt x="410" y="425"/>
                  </a:lnTo>
                  <a:lnTo>
                    <a:pt x="422" y="414"/>
                  </a:lnTo>
                  <a:lnTo>
                    <a:pt x="434" y="404"/>
                  </a:lnTo>
                  <a:lnTo>
                    <a:pt x="447" y="391"/>
                  </a:lnTo>
                  <a:lnTo>
                    <a:pt x="458" y="379"/>
                  </a:lnTo>
                  <a:lnTo>
                    <a:pt x="469" y="367"/>
                  </a:lnTo>
                  <a:lnTo>
                    <a:pt x="479" y="353"/>
                  </a:lnTo>
                  <a:lnTo>
                    <a:pt x="489" y="340"/>
                  </a:lnTo>
                  <a:lnTo>
                    <a:pt x="497" y="326"/>
                  </a:lnTo>
                  <a:lnTo>
                    <a:pt x="506" y="311"/>
                  </a:lnTo>
                  <a:lnTo>
                    <a:pt x="513" y="296"/>
                  </a:lnTo>
                  <a:lnTo>
                    <a:pt x="521" y="280"/>
                  </a:lnTo>
                  <a:lnTo>
                    <a:pt x="527" y="266"/>
                  </a:lnTo>
                  <a:lnTo>
                    <a:pt x="532" y="250"/>
                  </a:lnTo>
                  <a:lnTo>
                    <a:pt x="537" y="232"/>
                  </a:lnTo>
                  <a:lnTo>
                    <a:pt x="540" y="216"/>
                  </a:lnTo>
                  <a:lnTo>
                    <a:pt x="543" y="199"/>
                  </a:lnTo>
                  <a:lnTo>
                    <a:pt x="545" y="182"/>
                  </a:lnTo>
                  <a:lnTo>
                    <a:pt x="547" y="163"/>
                  </a:lnTo>
                  <a:lnTo>
                    <a:pt x="547" y="146"/>
                  </a:lnTo>
                  <a:lnTo>
                    <a:pt x="547" y="146"/>
                  </a:lnTo>
                  <a:lnTo>
                    <a:pt x="547" y="144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05" y="2"/>
                  </a:lnTo>
                  <a:lnTo>
                    <a:pt x="4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25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1" y="293"/>
                  </a:lnTo>
                  <a:lnTo>
                    <a:pt x="4" y="295"/>
                  </a:lnTo>
                  <a:lnTo>
                    <a:pt x="4" y="296"/>
                  </a:lnTo>
                  <a:lnTo>
                    <a:pt x="202" y="49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275">
              <a:extLst>
                <a:ext uri="{FF2B5EF4-FFF2-40B4-BE49-F238E27FC236}">
                  <a16:creationId xmlns:a16="http://schemas.microsoft.com/office/drawing/2014/main" id="{0E6873A3-6F4D-4317-8DF1-3A8B0B0F5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25" y="3640138"/>
              <a:ext cx="195263" cy="84138"/>
            </a:xfrm>
            <a:custGeom>
              <a:avLst/>
              <a:gdLst>
                <a:gd name="T0" fmla="*/ 14 w 123"/>
                <a:gd name="T1" fmla="*/ 0 h 53"/>
                <a:gd name="T2" fmla="*/ 14 w 123"/>
                <a:gd name="T3" fmla="*/ 0 h 53"/>
                <a:gd name="T4" fmla="*/ 0 w 123"/>
                <a:gd name="T5" fmla="*/ 53 h 53"/>
                <a:gd name="T6" fmla="*/ 0 w 123"/>
                <a:gd name="T7" fmla="*/ 53 h 53"/>
                <a:gd name="T8" fmla="*/ 123 w 123"/>
                <a:gd name="T9" fmla="*/ 53 h 53"/>
                <a:gd name="T10" fmla="*/ 123 w 123"/>
                <a:gd name="T11" fmla="*/ 53 h 53"/>
                <a:gd name="T12" fmla="*/ 109 w 123"/>
                <a:gd name="T13" fmla="*/ 0 h 53"/>
                <a:gd name="T14" fmla="*/ 109 w 123"/>
                <a:gd name="T15" fmla="*/ 0 h 53"/>
                <a:gd name="T16" fmla="*/ 14 w 123"/>
                <a:gd name="T17" fmla="*/ 0 h 53"/>
                <a:gd name="T18" fmla="*/ 14 w 12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53">
                  <a:moveTo>
                    <a:pt x="14" y="0"/>
                  </a:moveTo>
                  <a:lnTo>
                    <a:pt x="14" y="0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23" y="53"/>
                  </a:lnTo>
                  <a:lnTo>
                    <a:pt x="123" y="53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E30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276">
              <a:extLst>
                <a:ext uri="{FF2B5EF4-FFF2-40B4-BE49-F238E27FC236}">
                  <a16:creationId xmlns:a16="http://schemas.microsoft.com/office/drawing/2014/main" id="{056EE3E5-F659-4584-85DA-6425F5864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88" y="3724275"/>
              <a:ext cx="236538" cy="15875"/>
            </a:xfrm>
            <a:custGeom>
              <a:avLst/>
              <a:gdLst>
                <a:gd name="T0" fmla="*/ 143 w 149"/>
                <a:gd name="T1" fmla="*/ 0 h 10"/>
                <a:gd name="T2" fmla="*/ 6 w 149"/>
                <a:gd name="T3" fmla="*/ 0 h 10"/>
                <a:gd name="T4" fmla="*/ 6 w 149"/>
                <a:gd name="T5" fmla="*/ 0 h 10"/>
                <a:gd name="T6" fmla="*/ 4 w 149"/>
                <a:gd name="T7" fmla="*/ 0 h 10"/>
                <a:gd name="T8" fmla="*/ 2 w 149"/>
                <a:gd name="T9" fmla="*/ 2 h 10"/>
                <a:gd name="T10" fmla="*/ 1 w 149"/>
                <a:gd name="T11" fmla="*/ 4 h 10"/>
                <a:gd name="T12" fmla="*/ 0 w 149"/>
                <a:gd name="T13" fmla="*/ 8 h 10"/>
                <a:gd name="T14" fmla="*/ 0 w 149"/>
                <a:gd name="T15" fmla="*/ 10 h 10"/>
                <a:gd name="T16" fmla="*/ 149 w 149"/>
                <a:gd name="T17" fmla="*/ 10 h 10"/>
                <a:gd name="T18" fmla="*/ 149 w 149"/>
                <a:gd name="T19" fmla="*/ 8 h 10"/>
                <a:gd name="T20" fmla="*/ 149 w 149"/>
                <a:gd name="T21" fmla="*/ 8 h 10"/>
                <a:gd name="T22" fmla="*/ 149 w 149"/>
                <a:gd name="T23" fmla="*/ 4 h 10"/>
                <a:gd name="T24" fmla="*/ 147 w 149"/>
                <a:gd name="T25" fmla="*/ 2 h 10"/>
                <a:gd name="T26" fmla="*/ 145 w 149"/>
                <a:gd name="T27" fmla="*/ 0 h 10"/>
                <a:gd name="T28" fmla="*/ 143 w 149"/>
                <a:gd name="T29" fmla="*/ 0 h 10"/>
                <a:gd name="T30" fmla="*/ 143 w 149"/>
                <a:gd name="T3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9" h="10">
                  <a:moveTo>
                    <a:pt x="143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49" y="10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9" y="4"/>
                  </a:lnTo>
                  <a:lnTo>
                    <a:pt x="147" y="2"/>
                  </a:lnTo>
                  <a:lnTo>
                    <a:pt x="145" y="0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2C58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Freeform 277">
              <a:extLst>
                <a:ext uri="{FF2B5EF4-FFF2-40B4-BE49-F238E27FC236}">
                  <a16:creationId xmlns:a16="http://schemas.microsoft.com/office/drawing/2014/main" id="{8C5D677A-C442-4949-B623-774CF1BDD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25" y="3606800"/>
              <a:ext cx="652463" cy="65088"/>
            </a:xfrm>
            <a:custGeom>
              <a:avLst/>
              <a:gdLst>
                <a:gd name="T0" fmla="*/ 0 w 411"/>
                <a:gd name="T1" fmla="*/ 0 h 41"/>
                <a:gd name="T2" fmla="*/ 0 w 411"/>
                <a:gd name="T3" fmla="*/ 30 h 41"/>
                <a:gd name="T4" fmla="*/ 0 w 411"/>
                <a:gd name="T5" fmla="*/ 30 h 41"/>
                <a:gd name="T6" fmla="*/ 1 w 411"/>
                <a:gd name="T7" fmla="*/ 34 h 41"/>
                <a:gd name="T8" fmla="*/ 4 w 411"/>
                <a:gd name="T9" fmla="*/ 37 h 41"/>
                <a:gd name="T10" fmla="*/ 6 w 411"/>
                <a:gd name="T11" fmla="*/ 40 h 41"/>
                <a:gd name="T12" fmla="*/ 11 w 411"/>
                <a:gd name="T13" fmla="*/ 41 h 41"/>
                <a:gd name="T14" fmla="*/ 401 w 411"/>
                <a:gd name="T15" fmla="*/ 41 h 41"/>
                <a:gd name="T16" fmla="*/ 401 w 411"/>
                <a:gd name="T17" fmla="*/ 41 h 41"/>
                <a:gd name="T18" fmla="*/ 405 w 411"/>
                <a:gd name="T19" fmla="*/ 40 h 41"/>
                <a:gd name="T20" fmla="*/ 407 w 411"/>
                <a:gd name="T21" fmla="*/ 37 h 41"/>
                <a:gd name="T22" fmla="*/ 410 w 411"/>
                <a:gd name="T23" fmla="*/ 34 h 41"/>
                <a:gd name="T24" fmla="*/ 411 w 411"/>
                <a:gd name="T25" fmla="*/ 30 h 41"/>
                <a:gd name="T26" fmla="*/ 411 w 411"/>
                <a:gd name="T27" fmla="*/ 0 h 41"/>
                <a:gd name="T28" fmla="*/ 0 w 411"/>
                <a:gd name="T2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1" h="41">
                  <a:moveTo>
                    <a:pt x="0" y="0"/>
                  </a:moveTo>
                  <a:lnTo>
                    <a:pt x="0" y="30"/>
                  </a:lnTo>
                  <a:lnTo>
                    <a:pt x="0" y="30"/>
                  </a:lnTo>
                  <a:lnTo>
                    <a:pt x="1" y="34"/>
                  </a:lnTo>
                  <a:lnTo>
                    <a:pt x="4" y="37"/>
                  </a:lnTo>
                  <a:lnTo>
                    <a:pt x="6" y="40"/>
                  </a:lnTo>
                  <a:lnTo>
                    <a:pt x="11" y="41"/>
                  </a:lnTo>
                  <a:lnTo>
                    <a:pt x="401" y="41"/>
                  </a:lnTo>
                  <a:lnTo>
                    <a:pt x="401" y="41"/>
                  </a:lnTo>
                  <a:lnTo>
                    <a:pt x="405" y="40"/>
                  </a:lnTo>
                  <a:lnTo>
                    <a:pt x="407" y="37"/>
                  </a:lnTo>
                  <a:lnTo>
                    <a:pt x="410" y="34"/>
                  </a:lnTo>
                  <a:lnTo>
                    <a:pt x="411" y="30"/>
                  </a:lnTo>
                  <a:lnTo>
                    <a:pt x="41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58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Freeform 278">
              <a:extLst>
                <a:ext uri="{FF2B5EF4-FFF2-40B4-BE49-F238E27FC236}">
                  <a16:creationId xmlns:a16="http://schemas.microsoft.com/office/drawing/2014/main" id="{F88ED9A9-497C-41AE-A4F6-F0D3F4EB9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25" y="3197225"/>
              <a:ext cx="652463" cy="409575"/>
            </a:xfrm>
            <a:custGeom>
              <a:avLst/>
              <a:gdLst>
                <a:gd name="T0" fmla="*/ 411 w 411"/>
                <a:gd name="T1" fmla="*/ 258 h 258"/>
                <a:gd name="T2" fmla="*/ 411 w 411"/>
                <a:gd name="T3" fmla="*/ 10 h 258"/>
                <a:gd name="T4" fmla="*/ 411 w 411"/>
                <a:gd name="T5" fmla="*/ 10 h 258"/>
                <a:gd name="T6" fmla="*/ 410 w 411"/>
                <a:gd name="T7" fmla="*/ 7 h 258"/>
                <a:gd name="T8" fmla="*/ 407 w 411"/>
                <a:gd name="T9" fmla="*/ 4 h 258"/>
                <a:gd name="T10" fmla="*/ 405 w 411"/>
                <a:gd name="T11" fmla="*/ 2 h 258"/>
                <a:gd name="T12" fmla="*/ 401 w 411"/>
                <a:gd name="T13" fmla="*/ 0 h 258"/>
                <a:gd name="T14" fmla="*/ 11 w 411"/>
                <a:gd name="T15" fmla="*/ 0 h 258"/>
                <a:gd name="T16" fmla="*/ 11 w 411"/>
                <a:gd name="T17" fmla="*/ 0 h 258"/>
                <a:gd name="T18" fmla="*/ 6 w 411"/>
                <a:gd name="T19" fmla="*/ 2 h 258"/>
                <a:gd name="T20" fmla="*/ 4 w 411"/>
                <a:gd name="T21" fmla="*/ 4 h 258"/>
                <a:gd name="T22" fmla="*/ 1 w 411"/>
                <a:gd name="T23" fmla="*/ 7 h 258"/>
                <a:gd name="T24" fmla="*/ 0 w 411"/>
                <a:gd name="T25" fmla="*/ 10 h 258"/>
                <a:gd name="T26" fmla="*/ 0 w 411"/>
                <a:gd name="T27" fmla="*/ 258 h 258"/>
                <a:gd name="T28" fmla="*/ 411 w 411"/>
                <a:gd name="T29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1" h="258">
                  <a:moveTo>
                    <a:pt x="411" y="258"/>
                  </a:moveTo>
                  <a:lnTo>
                    <a:pt x="411" y="10"/>
                  </a:lnTo>
                  <a:lnTo>
                    <a:pt x="411" y="10"/>
                  </a:lnTo>
                  <a:lnTo>
                    <a:pt x="410" y="7"/>
                  </a:lnTo>
                  <a:lnTo>
                    <a:pt x="407" y="4"/>
                  </a:lnTo>
                  <a:lnTo>
                    <a:pt x="405" y="2"/>
                  </a:lnTo>
                  <a:lnTo>
                    <a:pt x="4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258"/>
                  </a:lnTo>
                  <a:lnTo>
                    <a:pt x="411" y="258"/>
                  </a:lnTo>
                  <a:close/>
                </a:path>
              </a:pathLst>
            </a:custGeom>
            <a:solidFill>
              <a:srgbClr val="0E30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Rectangle 279">
              <a:extLst>
                <a:ext uri="{FF2B5EF4-FFF2-40B4-BE49-F238E27FC236}">
                  <a16:creationId xmlns:a16="http://schemas.microsoft.com/office/drawing/2014/main" id="{CD5EA4F3-3F6F-4A64-9B58-C4AAD86C6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513" y="3222625"/>
              <a:ext cx="598488" cy="358775"/>
            </a:xfrm>
            <a:prstGeom prst="rect">
              <a:avLst/>
            </a:pr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Freeform 280">
              <a:extLst>
                <a:ext uri="{FF2B5EF4-FFF2-40B4-BE49-F238E27FC236}">
                  <a16:creationId xmlns:a16="http://schemas.microsoft.com/office/drawing/2014/main" id="{A4CB840F-A89B-4A63-A896-A025EDFB7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3" y="3222625"/>
              <a:ext cx="598488" cy="358775"/>
            </a:xfrm>
            <a:custGeom>
              <a:avLst/>
              <a:gdLst>
                <a:gd name="T0" fmla="*/ 0 w 377"/>
                <a:gd name="T1" fmla="*/ 226 h 226"/>
                <a:gd name="T2" fmla="*/ 377 w 377"/>
                <a:gd name="T3" fmla="*/ 0 h 226"/>
                <a:gd name="T4" fmla="*/ 377 w 377"/>
                <a:gd name="T5" fmla="*/ 226 h 226"/>
                <a:gd name="T6" fmla="*/ 0 w 377"/>
                <a:gd name="T7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7" h="226">
                  <a:moveTo>
                    <a:pt x="0" y="226"/>
                  </a:moveTo>
                  <a:lnTo>
                    <a:pt x="377" y="0"/>
                  </a:lnTo>
                  <a:lnTo>
                    <a:pt x="377" y="226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16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281">
              <a:extLst>
                <a:ext uri="{FF2B5EF4-FFF2-40B4-BE49-F238E27FC236}">
                  <a16:creationId xmlns:a16="http://schemas.microsoft.com/office/drawing/2014/main" id="{07309A3C-45C6-4004-BCD2-63874340A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3389313"/>
              <a:ext cx="160338" cy="141288"/>
            </a:xfrm>
            <a:custGeom>
              <a:avLst/>
              <a:gdLst>
                <a:gd name="T0" fmla="*/ 95 w 101"/>
                <a:gd name="T1" fmla="*/ 11 h 89"/>
                <a:gd name="T2" fmla="*/ 0 w 101"/>
                <a:gd name="T3" fmla="*/ 0 h 89"/>
                <a:gd name="T4" fmla="*/ 37 w 101"/>
                <a:gd name="T5" fmla="*/ 89 h 89"/>
                <a:gd name="T6" fmla="*/ 49 w 101"/>
                <a:gd name="T7" fmla="*/ 57 h 89"/>
                <a:gd name="T8" fmla="*/ 81 w 101"/>
                <a:gd name="T9" fmla="*/ 83 h 89"/>
                <a:gd name="T10" fmla="*/ 101 w 101"/>
                <a:gd name="T11" fmla="*/ 57 h 89"/>
                <a:gd name="T12" fmla="*/ 69 w 101"/>
                <a:gd name="T13" fmla="*/ 31 h 89"/>
                <a:gd name="T14" fmla="*/ 95 w 101"/>
                <a:gd name="T15" fmla="*/ 1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89">
                  <a:moveTo>
                    <a:pt x="95" y="11"/>
                  </a:moveTo>
                  <a:lnTo>
                    <a:pt x="0" y="0"/>
                  </a:lnTo>
                  <a:lnTo>
                    <a:pt x="37" y="89"/>
                  </a:lnTo>
                  <a:lnTo>
                    <a:pt x="49" y="57"/>
                  </a:lnTo>
                  <a:lnTo>
                    <a:pt x="81" y="83"/>
                  </a:lnTo>
                  <a:lnTo>
                    <a:pt x="101" y="57"/>
                  </a:lnTo>
                  <a:lnTo>
                    <a:pt x="69" y="31"/>
                  </a:lnTo>
                  <a:lnTo>
                    <a:pt x="9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282">
              <a:extLst>
                <a:ext uri="{FF2B5EF4-FFF2-40B4-BE49-F238E27FC236}">
                  <a16:creationId xmlns:a16="http://schemas.microsoft.com/office/drawing/2014/main" id="{2A36B154-B699-4450-94BA-F56CD0112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" y="3389313"/>
              <a:ext cx="144463" cy="141288"/>
            </a:xfrm>
            <a:custGeom>
              <a:avLst/>
              <a:gdLst>
                <a:gd name="T0" fmla="*/ 1 w 91"/>
                <a:gd name="T1" fmla="*/ 0 h 89"/>
                <a:gd name="T2" fmla="*/ 0 w 91"/>
                <a:gd name="T3" fmla="*/ 0 h 89"/>
                <a:gd name="T4" fmla="*/ 37 w 91"/>
                <a:gd name="T5" fmla="*/ 89 h 89"/>
                <a:gd name="T6" fmla="*/ 49 w 91"/>
                <a:gd name="T7" fmla="*/ 57 h 89"/>
                <a:gd name="T8" fmla="*/ 81 w 91"/>
                <a:gd name="T9" fmla="*/ 83 h 89"/>
                <a:gd name="T10" fmla="*/ 91 w 91"/>
                <a:gd name="T11" fmla="*/ 69 h 89"/>
                <a:gd name="T12" fmla="*/ 1 w 91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9">
                  <a:moveTo>
                    <a:pt x="1" y="0"/>
                  </a:moveTo>
                  <a:lnTo>
                    <a:pt x="0" y="0"/>
                  </a:lnTo>
                  <a:lnTo>
                    <a:pt x="37" y="89"/>
                  </a:lnTo>
                  <a:lnTo>
                    <a:pt x="49" y="57"/>
                  </a:lnTo>
                  <a:lnTo>
                    <a:pt x="81" y="83"/>
                  </a:lnTo>
                  <a:lnTo>
                    <a:pt x="91" y="69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Freeform 283">
              <a:extLst>
                <a:ext uri="{FF2B5EF4-FFF2-40B4-BE49-F238E27FC236}">
                  <a16:creationId xmlns:a16="http://schemas.microsoft.com/office/drawing/2014/main" id="{2D16850E-2E3A-4096-9FF3-2F4251280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" y="3281363"/>
              <a:ext cx="206375" cy="212725"/>
            </a:xfrm>
            <a:custGeom>
              <a:avLst/>
              <a:gdLst>
                <a:gd name="T0" fmla="*/ 117 w 130"/>
                <a:gd name="T1" fmla="*/ 29 h 134"/>
                <a:gd name="T2" fmla="*/ 117 w 130"/>
                <a:gd name="T3" fmla="*/ 29 h 134"/>
                <a:gd name="T4" fmla="*/ 124 w 130"/>
                <a:gd name="T5" fmla="*/ 40 h 134"/>
                <a:gd name="T6" fmla="*/ 129 w 130"/>
                <a:gd name="T7" fmla="*/ 52 h 134"/>
                <a:gd name="T8" fmla="*/ 130 w 130"/>
                <a:gd name="T9" fmla="*/ 66 h 134"/>
                <a:gd name="T10" fmla="*/ 130 w 130"/>
                <a:gd name="T11" fmla="*/ 78 h 134"/>
                <a:gd name="T12" fmla="*/ 128 w 130"/>
                <a:gd name="T13" fmla="*/ 91 h 134"/>
                <a:gd name="T14" fmla="*/ 123 w 130"/>
                <a:gd name="T15" fmla="*/ 102 h 134"/>
                <a:gd name="T16" fmla="*/ 115 w 130"/>
                <a:gd name="T17" fmla="*/ 113 h 134"/>
                <a:gd name="T18" fmla="*/ 106 w 130"/>
                <a:gd name="T19" fmla="*/ 121 h 134"/>
                <a:gd name="T20" fmla="*/ 106 w 130"/>
                <a:gd name="T21" fmla="*/ 121 h 134"/>
                <a:gd name="T22" fmla="*/ 94 w 130"/>
                <a:gd name="T23" fmla="*/ 129 h 134"/>
                <a:gd name="T24" fmla="*/ 82 w 130"/>
                <a:gd name="T25" fmla="*/ 132 h 134"/>
                <a:gd name="T26" fmla="*/ 70 w 130"/>
                <a:gd name="T27" fmla="*/ 134 h 134"/>
                <a:gd name="T28" fmla="*/ 57 w 130"/>
                <a:gd name="T29" fmla="*/ 132 h 134"/>
                <a:gd name="T30" fmla="*/ 45 w 130"/>
                <a:gd name="T31" fmla="*/ 130 h 134"/>
                <a:gd name="T32" fmla="*/ 34 w 130"/>
                <a:gd name="T33" fmla="*/ 124 h 134"/>
                <a:gd name="T34" fmla="*/ 23 w 130"/>
                <a:gd name="T35" fmla="*/ 116 h 134"/>
                <a:gd name="T36" fmla="*/ 14 w 130"/>
                <a:gd name="T37" fmla="*/ 105 h 134"/>
                <a:gd name="T38" fmla="*/ 14 w 130"/>
                <a:gd name="T39" fmla="*/ 105 h 134"/>
                <a:gd name="T40" fmla="*/ 7 w 130"/>
                <a:gd name="T41" fmla="*/ 94 h 134"/>
                <a:gd name="T42" fmla="*/ 2 w 130"/>
                <a:gd name="T43" fmla="*/ 82 h 134"/>
                <a:gd name="T44" fmla="*/ 0 w 130"/>
                <a:gd name="T45" fmla="*/ 68 h 134"/>
                <a:gd name="T46" fmla="*/ 1 w 130"/>
                <a:gd name="T47" fmla="*/ 56 h 134"/>
                <a:gd name="T48" fmla="*/ 3 w 130"/>
                <a:gd name="T49" fmla="*/ 44 h 134"/>
                <a:gd name="T50" fmla="*/ 8 w 130"/>
                <a:gd name="T51" fmla="*/ 33 h 134"/>
                <a:gd name="T52" fmla="*/ 16 w 130"/>
                <a:gd name="T53" fmla="*/ 21 h 134"/>
                <a:gd name="T54" fmla="*/ 24 w 130"/>
                <a:gd name="T55" fmla="*/ 13 h 134"/>
                <a:gd name="T56" fmla="*/ 24 w 130"/>
                <a:gd name="T57" fmla="*/ 13 h 134"/>
                <a:gd name="T58" fmla="*/ 35 w 130"/>
                <a:gd name="T59" fmla="*/ 7 h 134"/>
                <a:gd name="T60" fmla="*/ 48 w 130"/>
                <a:gd name="T61" fmla="*/ 2 h 134"/>
                <a:gd name="T62" fmla="*/ 60 w 130"/>
                <a:gd name="T63" fmla="*/ 0 h 134"/>
                <a:gd name="T64" fmla="*/ 72 w 130"/>
                <a:gd name="T65" fmla="*/ 2 h 134"/>
                <a:gd name="T66" fmla="*/ 85 w 130"/>
                <a:gd name="T67" fmla="*/ 5 h 134"/>
                <a:gd name="T68" fmla="*/ 97 w 130"/>
                <a:gd name="T69" fmla="*/ 10 h 134"/>
                <a:gd name="T70" fmla="*/ 107 w 130"/>
                <a:gd name="T71" fmla="*/ 19 h 134"/>
                <a:gd name="T72" fmla="*/ 117 w 130"/>
                <a:gd name="T73" fmla="*/ 29 h 134"/>
                <a:gd name="T74" fmla="*/ 117 w 130"/>
                <a:gd name="T75" fmla="*/ 2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34">
                  <a:moveTo>
                    <a:pt x="117" y="29"/>
                  </a:moveTo>
                  <a:lnTo>
                    <a:pt x="117" y="29"/>
                  </a:lnTo>
                  <a:lnTo>
                    <a:pt x="124" y="40"/>
                  </a:lnTo>
                  <a:lnTo>
                    <a:pt x="129" y="52"/>
                  </a:lnTo>
                  <a:lnTo>
                    <a:pt x="130" y="66"/>
                  </a:lnTo>
                  <a:lnTo>
                    <a:pt x="130" y="78"/>
                  </a:lnTo>
                  <a:lnTo>
                    <a:pt x="128" y="91"/>
                  </a:lnTo>
                  <a:lnTo>
                    <a:pt x="123" y="102"/>
                  </a:lnTo>
                  <a:lnTo>
                    <a:pt x="115" y="113"/>
                  </a:lnTo>
                  <a:lnTo>
                    <a:pt x="106" y="121"/>
                  </a:lnTo>
                  <a:lnTo>
                    <a:pt x="106" y="121"/>
                  </a:lnTo>
                  <a:lnTo>
                    <a:pt x="94" y="129"/>
                  </a:lnTo>
                  <a:lnTo>
                    <a:pt x="82" y="132"/>
                  </a:lnTo>
                  <a:lnTo>
                    <a:pt x="70" y="134"/>
                  </a:lnTo>
                  <a:lnTo>
                    <a:pt x="57" y="132"/>
                  </a:lnTo>
                  <a:lnTo>
                    <a:pt x="45" y="130"/>
                  </a:lnTo>
                  <a:lnTo>
                    <a:pt x="34" y="124"/>
                  </a:lnTo>
                  <a:lnTo>
                    <a:pt x="23" y="116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7" y="94"/>
                  </a:lnTo>
                  <a:lnTo>
                    <a:pt x="2" y="82"/>
                  </a:lnTo>
                  <a:lnTo>
                    <a:pt x="0" y="68"/>
                  </a:lnTo>
                  <a:lnTo>
                    <a:pt x="1" y="56"/>
                  </a:lnTo>
                  <a:lnTo>
                    <a:pt x="3" y="44"/>
                  </a:lnTo>
                  <a:lnTo>
                    <a:pt x="8" y="33"/>
                  </a:lnTo>
                  <a:lnTo>
                    <a:pt x="16" y="21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35" y="7"/>
                  </a:lnTo>
                  <a:lnTo>
                    <a:pt x="48" y="2"/>
                  </a:lnTo>
                  <a:lnTo>
                    <a:pt x="60" y="0"/>
                  </a:lnTo>
                  <a:lnTo>
                    <a:pt x="72" y="2"/>
                  </a:lnTo>
                  <a:lnTo>
                    <a:pt x="85" y="5"/>
                  </a:lnTo>
                  <a:lnTo>
                    <a:pt x="97" y="10"/>
                  </a:lnTo>
                  <a:lnTo>
                    <a:pt x="107" y="19"/>
                  </a:lnTo>
                  <a:lnTo>
                    <a:pt x="117" y="29"/>
                  </a:lnTo>
                  <a:lnTo>
                    <a:pt x="117" y="29"/>
                  </a:lnTo>
                  <a:close/>
                </a:path>
              </a:pathLst>
            </a:custGeom>
            <a:solidFill>
              <a:srgbClr val="FEC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284">
              <a:extLst>
                <a:ext uri="{FF2B5EF4-FFF2-40B4-BE49-F238E27FC236}">
                  <a16:creationId xmlns:a16="http://schemas.microsoft.com/office/drawing/2014/main" id="{5DDA112A-94A5-4E96-A143-40ACA6916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88" y="3284538"/>
              <a:ext cx="192088" cy="196850"/>
            </a:xfrm>
            <a:custGeom>
              <a:avLst/>
              <a:gdLst>
                <a:gd name="T0" fmla="*/ 106 w 121"/>
                <a:gd name="T1" fmla="*/ 28 h 124"/>
                <a:gd name="T2" fmla="*/ 106 w 121"/>
                <a:gd name="T3" fmla="*/ 28 h 124"/>
                <a:gd name="T4" fmla="*/ 113 w 121"/>
                <a:gd name="T5" fmla="*/ 39 h 124"/>
                <a:gd name="T6" fmla="*/ 118 w 121"/>
                <a:gd name="T7" fmla="*/ 52 h 124"/>
                <a:gd name="T8" fmla="*/ 120 w 121"/>
                <a:gd name="T9" fmla="*/ 63 h 124"/>
                <a:gd name="T10" fmla="*/ 121 w 121"/>
                <a:gd name="T11" fmla="*/ 75 h 124"/>
                <a:gd name="T12" fmla="*/ 119 w 121"/>
                <a:gd name="T13" fmla="*/ 86 h 124"/>
                <a:gd name="T14" fmla="*/ 115 w 121"/>
                <a:gd name="T15" fmla="*/ 97 h 124"/>
                <a:gd name="T16" fmla="*/ 109 w 121"/>
                <a:gd name="T17" fmla="*/ 107 h 124"/>
                <a:gd name="T18" fmla="*/ 100 w 121"/>
                <a:gd name="T19" fmla="*/ 114 h 124"/>
                <a:gd name="T20" fmla="*/ 100 w 121"/>
                <a:gd name="T21" fmla="*/ 114 h 124"/>
                <a:gd name="T22" fmla="*/ 90 w 121"/>
                <a:gd name="T23" fmla="*/ 121 h 124"/>
                <a:gd name="T24" fmla="*/ 79 w 121"/>
                <a:gd name="T25" fmla="*/ 124 h 124"/>
                <a:gd name="T26" fmla="*/ 68 w 121"/>
                <a:gd name="T27" fmla="*/ 124 h 124"/>
                <a:gd name="T28" fmla="*/ 56 w 121"/>
                <a:gd name="T29" fmla="*/ 123 h 124"/>
                <a:gd name="T30" fmla="*/ 45 w 121"/>
                <a:gd name="T31" fmla="*/ 119 h 124"/>
                <a:gd name="T32" fmla="*/ 34 w 121"/>
                <a:gd name="T33" fmla="*/ 114 h 124"/>
                <a:gd name="T34" fmla="*/ 24 w 121"/>
                <a:gd name="T35" fmla="*/ 106 h 124"/>
                <a:gd name="T36" fmla="*/ 15 w 121"/>
                <a:gd name="T37" fmla="*/ 96 h 124"/>
                <a:gd name="T38" fmla="*/ 15 w 121"/>
                <a:gd name="T39" fmla="*/ 96 h 124"/>
                <a:gd name="T40" fmla="*/ 8 w 121"/>
                <a:gd name="T41" fmla="*/ 85 h 124"/>
                <a:gd name="T42" fmla="*/ 3 w 121"/>
                <a:gd name="T43" fmla="*/ 74 h 124"/>
                <a:gd name="T44" fmla="*/ 0 w 121"/>
                <a:gd name="T45" fmla="*/ 61 h 124"/>
                <a:gd name="T46" fmla="*/ 0 w 121"/>
                <a:gd name="T47" fmla="*/ 49 h 124"/>
                <a:gd name="T48" fmla="*/ 3 w 121"/>
                <a:gd name="T49" fmla="*/ 38 h 124"/>
                <a:gd name="T50" fmla="*/ 7 w 121"/>
                <a:gd name="T51" fmla="*/ 27 h 124"/>
                <a:gd name="T52" fmla="*/ 13 w 121"/>
                <a:gd name="T53" fmla="*/ 17 h 124"/>
                <a:gd name="T54" fmla="*/ 21 w 121"/>
                <a:gd name="T55" fmla="*/ 10 h 124"/>
                <a:gd name="T56" fmla="*/ 21 w 121"/>
                <a:gd name="T57" fmla="*/ 10 h 124"/>
                <a:gd name="T58" fmla="*/ 31 w 121"/>
                <a:gd name="T59" fmla="*/ 3 h 124"/>
                <a:gd name="T60" fmla="*/ 42 w 121"/>
                <a:gd name="T61" fmla="*/ 0 h 124"/>
                <a:gd name="T62" fmla="*/ 53 w 121"/>
                <a:gd name="T63" fmla="*/ 0 h 124"/>
                <a:gd name="T64" fmla="*/ 65 w 121"/>
                <a:gd name="T65" fmla="*/ 1 h 124"/>
                <a:gd name="T66" fmla="*/ 77 w 121"/>
                <a:gd name="T67" fmla="*/ 5 h 124"/>
                <a:gd name="T68" fmla="*/ 87 w 121"/>
                <a:gd name="T69" fmla="*/ 10 h 124"/>
                <a:gd name="T70" fmla="*/ 98 w 121"/>
                <a:gd name="T71" fmla="*/ 18 h 124"/>
                <a:gd name="T72" fmla="*/ 106 w 121"/>
                <a:gd name="T73" fmla="*/ 28 h 124"/>
                <a:gd name="T74" fmla="*/ 106 w 121"/>
                <a:gd name="T75" fmla="*/ 2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1" h="124">
                  <a:moveTo>
                    <a:pt x="106" y="28"/>
                  </a:moveTo>
                  <a:lnTo>
                    <a:pt x="106" y="28"/>
                  </a:lnTo>
                  <a:lnTo>
                    <a:pt x="113" y="39"/>
                  </a:lnTo>
                  <a:lnTo>
                    <a:pt x="118" y="52"/>
                  </a:lnTo>
                  <a:lnTo>
                    <a:pt x="120" y="63"/>
                  </a:lnTo>
                  <a:lnTo>
                    <a:pt x="121" y="75"/>
                  </a:lnTo>
                  <a:lnTo>
                    <a:pt x="119" y="86"/>
                  </a:lnTo>
                  <a:lnTo>
                    <a:pt x="115" y="97"/>
                  </a:lnTo>
                  <a:lnTo>
                    <a:pt x="109" y="107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90" y="121"/>
                  </a:lnTo>
                  <a:lnTo>
                    <a:pt x="79" y="124"/>
                  </a:lnTo>
                  <a:lnTo>
                    <a:pt x="68" y="124"/>
                  </a:lnTo>
                  <a:lnTo>
                    <a:pt x="56" y="123"/>
                  </a:lnTo>
                  <a:lnTo>
                    <a:pt x="45" y="119"/>
                  </a:lnTo>
                  <a:lnTo>
                    <a:pt x="34" y="114"/>
                  </a:lnTo>
                  <a:lnTo>
                    <a:pt x="24" y="106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8" y="85"/>
                  </a:lnTo>
                  <a:lnTo>
                    <a:pt x="3" y="74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3" y="38"/>
                  </a:lnTo>
                  <a:lnTo>
                    <a:pt x="7" y="27"/>
                  </a:lnTo>
                  <a:lnTo>
                    <a:pt x="13" y="17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31" y="3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5" y="1"/>
                  </a:lnTo>
                  <a:lnTo>
                    <a:pt x="77" y="5"/>
                  </a:lnTo>
                  <a:lnTo>
                    <a:pt x="87" y="10"/>
                  </a:lnTo>
                  <a:lnTo>
                    <a:pt x="98" y="18"/>
                  </a:lnTo>
                  <a:lnTo>
                    <a:pt x="106" y="28"/>
                  </a:lnTo>
                  <a:lnTo>
                    <a:pt x="106" y="28"/>
                  </a:lnTo>
                  <a:close/>
                </a:path>
              </a:pathLst>
            </a:custGeom>
            <a:solidFill>
              <a:srgbClr val="F6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Freeform 285">
              <a:extLst>
                <a:ext uri="{FF2B5EF4-FFF2-40B4-BE49-F238E27FC236}">
                  <a16:creationId xmlns:a16="http://schemas.microsoft.com/office/drawing/2014/main" id="{16292714-6FAD-42C8-B995-09522407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5" y="3303588"/>
              <a:ext cx="150813" cy="158750"/>
            </a:xfrm>
            <a:custGeom>
              <a:avLst/>
              <a:gdLst>
                <a:gd name="T0" fmla="*/ 84 w 95"/>
                <a:gd name="T1" fmla="*/ 23 h 100"/>
                <a:gd name="T2" fmla="*/ 84 w 95"/>
                <a:gd name="T3" fmla="*/ 23 h 100"/>
                <a:gd name="T4" fmla="*/ 89 w 95"/>
                <a:gd name="T5" fmla="*/ 32 h 100"/>
                <a:gd name="T6" fmla="*/ 92 w 95"/>
                <a:gd name="T7" fmla="*/ 41 h 100"/>
                <a:gd name="T8" fmla="*/ 95 w 95"/>
                <a:gd name="T9" fmla="*/ 51 h 100"/>
                <a:gd name="T10" fmla="*/ 95 w 95"/>
                <a:gd name="T11" fmla="*/ 60 h 100"/>
                <a:gd name="T12" fmla="*/ 93 w 95"/>
                <a:gd name="T13" fmla="*/ 69 h 100"/>
                <a:gd name="T14" fmla="*/ 90 w 95"/>
                <a:gd name="T15" fmla="*/ 78 h 100"/>
                <a:gd name="T16" fmla="*/ 85 w 95"/>
                <a:gd name="T17" fmla="*/ 85 h 100"/>
                <a:gd name="T18" fmla="*/ 79 w 95"/>
                <a:gd name="T19" fmla="*/ 91 h 100"/>
                <a:gd name="T20" fmla="*/ 79 w 95"/>
                <a:gd name="T21" fmla="*/ 91 h 100"/>
                <a:gd name="T22" fmla="*/ 71 w 95"/>
                <a:gd name="T23" fmla="*/ 96 h 100"/>
                <a:gd name="T24" fmla="*/ 63 w 95"/>
                <a:gd name="T25" fmla="*/ 99 h 100"/>
                <a:gd name="T26" fmla="*/ 53 w 95"/>
                <a:gd name="T27" fmla="*/ 100 h 100"/>
                <a:gd name="T28" fmla="*/ 44 w 95"/>
                <a:gd name="T29" fmla="*/ 99 h 100"/>
                <a:gd name="T30" fmla="*/ 35 w 95"/>
                <a:gd name="T31" fmla="*/ 95 h 100"/>
                <a:gd name="T32" fmla="*/ 27 w 95"/>
                <a:gd name="T33" fmla="*/ 91 h 100"/>
                <a:gd name="T34" fmla="*/ 18 w 95"/>
                <a:gd name="T35" fmla="*/ 85 h 100"/>
                <a:gd name="T36" fmla="*/ 12 w 95"/>
                <a:gd name="T37" fmla="*/ 77 h 100"/>
                <a:gd name="T38" fmla="*/ 12 w 95"/>
                <a:gd name="T39" fmla="*/ 77 h 100"/>
                <a:gd name="T40" fmla="*/ 6 w 95"/>
                <a:gd name="T41" fmla="*/ 68 h 100"/>
                <a:gd name="T42" fmla="*/ 2 w 95"/>
                <a:gd name="T43" fmla="*/ 59 h 100"/>
                <a:gd name="T44" fmla="*/ 0 w 95"/>
                <a:gd name="T45" fmla="*/ 49 h 100"/>
                <a:gd name="T46" fmla="*/ 0 w 95"/>
                <a:gd name="T47" fmla="*/ 40 h 100"/>
                <a:gd name="T48" fmla="*/ 2 w 95"/>
                <a:gd name="T49" fmla="*/ 31 h 100"/>
                <a:gd name="T50" fmla="*/ 5 w 95"/>
                <a:gd name="T51" fmla="*/ 22 h 100"/>
                <a:gd name="T52" fmla="*/ 10 w 95"/>
                <a:gd name="T53" fmla="*/ 15 h 100"/>
                <a:gd name="T54" fmla="*/ 17 w 95"/>
                <a:gd name="T55" fmla="*/ 9 h 100"/>
                <a:gd name="T56" fmla="*/ 17 w 95"/>
                <a:gd name="T57" fmla="*/ 9 h 100"/>
                <a:gd name="T58" fmla="*/ 24 w 95"/>
                <a:gd name="T59" fmla="*/ 4 h 100"/>
                <a:gd name="T60" fmla="*/ 33 w 95"/>
                <a:gd name="T61" fmla="*/ 1 h 100"/>
                <a:gd name="T62" fmla="*/ 42 w 95"/>
                <a:gd name="T63" fmla="*/ 0 h 100"/>
                <a:gd name="T64" fmla="*/ 52 w 95"/>
                <a:gd name="T65" fmla="*/ 1 h 100"/>
                <a:gd name="T66" fmla="*/ 60 w 95"/>
                <a:gd name="T67" fmla="*/ 5 h 100"/>
                <a:gd name="T68" fmla="*/ 69 w 95"/>
                <a:gd name="T69" fmla="*/ 9 h 100"/>
                <a:gd name="T70" fmla="*/ 76 w 95"/>
                <a:gd name="T71" fmla="*/ 15 h 100"/>
                <a:gd name="T72" fmla="*/ 84 w 95"/>
                <a:gd name="T73" fmla="*/ 23 h 100"/>
                <a:gd name="T74" fmla="*/ 84 w 95"/>
                <a:gd name="T75" fmla="*/ 2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5" h="100">
                  <a:moveTo>
                    <a:pt x="84" y="23"/>
                  </a:moveTo>
                  <a:lnTo>
                    <a:pt x="84" y="23"/>
                  </a:lnTo>
                  <a:lnTo>
                    <a:pt x="89" y="32"/>
                  </a:lnTo>
                  <a:lnTo>
                    <a:pt x="92" y="41"/>
                  </a:lnTo>
                  <a:lnTo>
                    <a:pt x="95" y="51"/>
                  </a:lnTo>
                  <a:lnTo>
                    <a:pt x="95" y="60"/>
                  </a:lnTo>
                  <a:lnTo>
                    <a:pt x="93" y="69"/>
                  </a:lnTo>
                  <a:lnTo>
                    <a:pt x="90" y="78"/>
                  </a:lnTo>
                  <a:lnTo>
                    <a:pt x="85" y="85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71" y="96"/>
                  </a:lnTo>
                  <a:lnTo>
                    <a:pt x="63" y="99"/>
                  </a:lnTo>
                  <a:lnTo>
                    <a:pt x="53" y="100"/>
                  </a:lnTo>
                  <a:lnTo>
                    <a:pt x="44" y="99"/>
                  </a:lnTo>
                  <a:lnTo>
                    <a:pt x="35" y="95"/>
                  </a:lnTo>
                  <a:lnTo>
                    <a:pt x="27" y="91"/>
                  </a:lnTo>
                  <a:lnTo>
                    <a:pt x="18" y="85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6" y="68"/>
                  </a:lnTo>
                  <a:lnTo>
                    <a:pt x="2" y="59"/>
                  </a:lnTo>
                  <a:lnTo>
                    <a:pt x="0" y="49"/>
                  </a:lnTo>
                  <a:lnTo>
                    <a:pt x="0" y="40"/>
                  </a:lnTo>
                  <a:lnTo>
                    <a:pt x="2" y="31"/>
                  </a:lnTo>
                  <a:lnTo>
                    <a:pt x="5" y="22"/>
                  </a:lnTo>
                  <a:lnTo>
                    <a:pt x="10" y="15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4" y="4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60" y="5"/>
                  </a:lnTo>
                  <a:lnTo>
                    <a:pt x="69" y="9"/>
                  </a:lnTo>
                  <a:lnTo>
                    <a:pt x="76" y="15"/>
                  </a:lnTo>
                  <a:lnTo>
                    <a:pt x="84" y="23"/>
                  </a:lnTo>
                  <a:lnTo>
                    <a:pt x="84" y="23"/>
                  </a:lnTo>
                  <a:close/>
                </a:path>
              </a:pathLst>
            </a:custGeom>
            <a:solidFill>
              <a:srgbClr val="FEC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286">
              <a:extLst>
                <a:ext uri="{FF2B5EF4-FFF2-40B4-BE49-F238E27FC236}">
                  <a16:creationId xmlns:a16="http://schemas.microsoft.com/office/drawing/2014/main" id="{91500248-3BA7-42D2-845C-BC13E14CB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3327400"/>
              <a:ext cx="77788" cy="109538"/>
            </a:xfrm>
            <a:custGeom>
              <a:avLst/>
              <a:gdLst>
                <a:gd name="T0" fmla="*/ 40 w 49"/>
                <a:gd name="T1" fmla="*/ 62 h 69"/>
                <a:gd name="T2" fmla="*/ 32 w 49"/>
                <a:gd name="T3" fmla="*/ 64 h 69"/>
                <a:gd name="T4" fmla="*/ 29 w 49"/>
                <a:gd name="T5" fmla="*/ 64 h 69"/>
                <a:gd name="T6" fmla="*/ 24 w 49"/>
                <a:gd name="T7" fmla="*/ 60 h 69"/>
                <a:gd name="T8" fmla="*/ 24 w 49"/>
                <a:gd name="T9" fmla="*/ 59 h 69"/>
                <a:gd name="T10" fmla="*/ 24 w 49"/>
                <a:gd name="T11" fmla="*/ 58 h 69"/>
                <a:gd name="T12" fmla="*/ 26 w 49"/>
                <a:gd name="T13" fmla="*/ 58 h 69"/>
                <a:gd name="T14" fmla="*/ 29 w 49"/>
                <a:gd name="T15" fmla="*/ 58 h 69"/>
                <a:gd name="T16" fmla="*/ 32 w 49"/>
                <a:gd name="T17" fmla="*/ 58 h 69"/>
                <a:gd name="T18" fmla="*/ 37 w 49"/>
                <a:gd name="T19" fmla="*/ 55 h 69"/>
                <a:gd name="T20" fmla="*/ 25 w 49"/>
                <a:gd name="T21" fmla="*/ 37 h 69"/>
                <a:gd name="T22" fmla="*/ 19 w 49"/>
                <a:gd name="T23" fmla="*/ 38 h 69"/>
                <a:gd name="T24" fmla="*/ 14 w 49"/>
                <a:gd name="T25" fmla="*/ 39 h 69"/>
                <a:gd name="T26" fmla="*/ 9 w 49"/>
                <a:gd name="T27" fmla="*/ 37 h 69"/>
                <a:gd name="T28" fmla="*/ 3 w 49"/>
                <a:gd name="T29" fmla="*/ 32 h 69"/>
                <a:gd name="T30" fmla="*/ 0 w 49"/>
                <a:gd name="T31" fmla="*/ 27 h 69"/>
                <a:gd name="T32" fmla="*/ 0 w 49"/>
                <a:gd name="T33" fmla="*/ 21 h 69"/>
                <a:gd name="T34" fmla="*/ 1 w 49"/>
                <a:gd name="T35" fmla="*/ 15 h 69"/>
                <a:gd name="T36" fmla="*/ 6 w 49"/>
                <a:gd name="T37" fmla="*/ 10 h 69"/>
                <a:gd name="T38" fmla="*/ 3 w 49"/>
                <a:gd name="T39" fmla="*/ 5 h 69"/>
                <a:gd name="T40" fmla="*/ 3 w 49"/>
                <a:gd name="T41" fmla="*/ 2 h 69"/>
                <a:gd name="T42" fmla="*/ 5 w 49"/>
                <a:gd name="T43" fmla="*/ 0 h 69"/>
                <a:gd name="T44" fmla="*/ 9 w 49"/>
                <a:gd name="T45" fmla="*/ 7 h 69"/>
                <a:gd name="T46" fmla="*/ 16 w 49"/>
                <a:gd name="T47" fmla="*/ 5 h 69"/>
                <a:gd name="T48" fmla="*/ 24 w 49"/>
                <a:gd name="T49" fmla="*/ 8 h 69"/>
                <a:gd name="T50" fmla="*/ 22 w 49"/>
                <a:gd name="T51" fmla="*/ 11 h 69"/>
                <a:gd name="T52" fmla="*/ 21 w 49"/>
                <a:gd name="T53" fmla="*/ 11 h 69"/>
                <a:gd name="T54" fmla="*/ 19 w 49"/>
                <a:gd name="T55" fmla="*/ 11 h 69"/>
                <a:gd name="T56" fmla="*/ 16 w 49"/>
                <a:gd name="T57" fmla="*/ 11 h 69"/>
                <a:gd name="T58" fmla="*/ 12 w 49"/>
                <a:gd name="T59" fmla="*/ 12 h 69"/>
                <a:gd name="T60" fmla="*/ 25 w 49"/>
                <a:gd name="T61" fmla="*/ 29 h 69"/>
                <a:gd name="T62" fmla="*/ 30 w 49"/>
                <a:gd name="T63" fmla="*/ 28 h 69"/>
                <a:gd name="T64" fmla="*/ 35 w 49"/>
                <a:gd name="T65" fmla="*/ 27 h 69"/>
                <a:gd name="T66" fmla="*/ 41 w 49"/>
                <a:gd name="T67" fmla="*/ 29 h 69"/>
                <a:gd name="T68" fmla="*/ 46 w 49"/>
                <a:gd name="T69" fmla="*/ 33 h 69"/>
                <a:gd name="T70" fmla="*/ 49 w 49"/>
                <a:gd name="T71" fmla="*/ 41 h 69"/>
                <a:gd name="T72" fmla="*/ 49 w 49"/>
                <a:gd name="T73" fmla="*/ 47 h 69"/>
                <a:gd name="T74" fmla="*/ 48 w 49"/>
                <a:gd name="T75" fmla="*/ 53 h 69"/>
                <a:gd name="T76" fmla="*/ 46 w 49"/>
                <a:gd name="T77" fmla="*/ 57 h 69"/>
                <a:gd name="T78" fmla="*/ 48 w 49"/>
                <a:gd name="T79" fmla="*/ 65 h 69"/>
                <a:gd name="T80" fmla="*/ 48 w 49"/>
                <a:gd name="T81" fmla="*/ 66 h 69"/>
                <a:gd name="T82" fmla="*/ 47 w 49"/>
                <a:gd name="T83" fmla="*/ 68 h 69"/>
                <a:gd name="T84" fmla="*/ 40 w 49"/>
                <a:gd name="T85" fmla="*/ 62 h 69"/>
                <a:gd name="T86" fmla="*/ 8 w 49"/>
                <a:gd name="T87" fmla="*/ 28 h 69"/>
                <a:gd name="T88" fmla="*/ 10 w 49"/>
                <a:gd name="T89" fmla="*/ 31 h 69"/>
                <a:gd name="T90" fmla="*/ 14 w 49"/>
                <a:gd name="T91" fmla="*/ 32 h 69"/>
                <a:gd name="T92" fmla="*/ 16 w 49"/>
                <a:gd name="T93" fmla="*/ 32 h 69"/>
                <a:gd name="T94" fmla="*/ 10 w 49"/>
                <a:gd name="T95" fmla="*/ 15 h 69"/>
                <a:gd name="T96" fmla="*/ 6 w 49"/>
                <a:gd name="T97" fmla="*/ 18 h 69"/>
                <a:gd name="T98" fmla="*/ 6 w 49"/>
                <a:gd name="T99" fmla="*/ 22 h 69"/>
                <a:gd name="T100" fmla="*/ 6 w 49"/>
                <a:gd name="T101" fmla="*/ 25 h 69"/>
                <a:gd name="T102" fmla="*/ 8 w 49"/>
                <a:gd name="T103" fmla="*/ 28 h 69"/>
                <a:gd name="T104" fmla="*/ 41 w 49"/>
                <a:gd name="T105" fmla="*/ 38 h 69"/>
                <a:gd name="T106" fmla="*/ 38 w 49"/>
                <a:gd name="T107" fmla="*/ 36 h 69"/>
                <a:gd name="T108" fmla="*/ 36 w 49"/>
                <a:gd name="T109" fmla="*/ 34 h 69"/>
                <a:gd name="T110" fmla="*/ 32 w 49"/>
                <a:gd name="T111" fmla="*/ 34 h 69"/>
                <a:gd name="T112" fmla="*/ 29 w 49"/>
                <a:gd name="T113" fmla="*/ 36 h 69"/>
                <a:gd name="T114" fmla="*/ 40 w 49"/>
                <a:gd name="T115" fmla="*/ 53 h 69"/>
                <a:gd name="T116" fmla="*/ 43 w 49"/>
                <a:gd name="T117" fmla="*/ 50 h 69"/>
                <a:gd name="T118" fmla="*/ 43 w 49"/>
                <a:gd name="T119" fmla="*/ 45 h 69"/>
                <a:gd name="T120" fmla="*/ 43 w 49"/>
                <a:gd name="T121" fmla="*/ 42 h 69"/>
                <a:gd name="T122" fmla="*/ 41 w 49"/>
                <a:gd name="T123" fmla="*/ 3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" h="69">
                  <a:moveTo>
                    <a:pt x="40" y="62"/>
                  </a:moveTo>
                  <a:lnTo>
                    <a:pt x="40" y="62"/>
                  </a:lnTo>
                  <a:lnTo>
                    <a:pt x="36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9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7" y="55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5" y="0"/>
                  </a:lnTo>
                  <a:lnTo>
                    <a:pt x="9" y="7"/>
                  </a:lnTo>
                  <a:lnTo>
                    <a:pt x="9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2" y="12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3" y="31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8" y="53"/>
                  </a:lnTo>
                  <a:lnTo>
                    <a:pt x="48" y="53"/>
                  </a:lnTo>
                  <a:lnTo>
                    <a:pt x="46" y="57"/>
                  </a:lnTo>
                  <a:lnTo>
                    <a:pt x="43" y="59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7" y="68"/>
                  </a:lnTo>
                  <a:lnTo>
                    <a:pt x="46" y="69"/>
                  </a:lnTo>
                  <a:lnTo>
                    <a:pt x="40" y="62"/>
                  </a:lnTo>
                  <a:close/>
                  <a:moveTo>
                    <a:pt x="8" y="28"/>
                  </a:moveTo>
                  <a:lnTo>
                    <a:pt x="8" y="2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1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41" y="38"/>
                  </a:moveTo>
                  <a:lnTo>
                    <a:pt x="41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29" y="36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1" y="38"/>
                  </a:lnTo>
                  <a:lnTo>
                    <a:pt x="41" y="38"/>
                  </a:lnTo>
                  <a:close/>
                </a:path>
              </a:pathLst>
            </a:custGeom>
            <a:solidFill>
              <a:srgbClr val="F6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287">
              <a:extLst>
                <a:ext uri="{FF2B5EF4-FFF2-40B4-BE49-F238E27FC236}">
                  <a16:creationId xmlns:a16="http://schemas.microsoft.com/office/drawing/2014/main" id="{E5184F35-D218-4EBB-A178-5A2C300A3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" y="3062288"/>
              <a:ext cx="200025" cy="201613"/>
            </a:xfrm>
            <a:custGeom>
              <a:avLst/>
              <a:gdLst>
                <a:gd name="T0" fmla="*/ 19 w 126"/>
                <a:gd name="T1" fmla="*/ 25 h 127"/>
                <a:gd name="T2" fmla="*/ 19 w 126"/>
                <a:gd name="T3" fmla="*/ 25 h 127"/>
                <a:gd name="T4" fmla="*/ 29 w 126"/>
                <a:gd name="T5" fmla="*/ 16 h 127"/>
                <a:gd name="T6" fmla="*/ 40 w 126"/>
                <a:gd name="T7" fmla="*/ 9 h 127"/>
                <a:gd name="T8" fmla="*/ 52 w 126"/>
                <a:gd name="T9" fmla="*/ 4 h 127"/>
                <a:gd name="T10" fmla="*/ 64 w 126"/>
                <a:gd name="T11" fmla="*/ 0 h 127"/>
                <a:gd name="T12" fmla="*/ 76 w 126"/>
                <a:gd name="T13" fmla="*/ 0 h 127"/>
                <a:gd name="T14" fmla="*/ 87 w 126"/>
                <a:gd name="T15" fmla="*/ 3 h 127"/>
                <a:gd name="T16" fmla="*/ 98 w 126"/>
                <a:gd name="T17" fmla="*/ 6 h 127"/>
                <a:gd name="T18" fmla="*/ 107 w 126"/>
                <a:gd name="T19" fmla="*/ 14 h 127"/>
                <a:gd name="T20" fmla="*/ 107 w 126"/>
                <a:gd name="T21" fmla="*/ 14 h 127"/>
                <a:gd name="T22" fmla="*/ 116 w 126"/>
                <a:gd name="T23" fmla="*/ 23 h 127"/>
                <a:gd name="T24" fmla="*/ 121 w 126"/>
                <a:gd name="T25" fmla="*/ 32 h 127"/>
                <a:gd name="T26" fmla="*/ 124 w 126"/>
                <a:gd name="T27" fmla="*/ 43 h 127"/>
                <a:gd name="T28" fmla="*/ 126 w 126"/>
                <a:gd name="T29" fmla="*/ 56 h 127"/>
                <a:gd name="T30" fmla="*/ 124 w 126"/>
                <a:gd name="T31" fmla="*/ 68 h 127"/>
                <a:gd name="T32" fmla="*/ 121 w 126"/>
                <a:gd name="T33" fmla="*/ 81 h 127"/>
                <a:gd name="T34" fmla="*/ 114 w 126"/>
                <a:gd name="T35" fmla="*/ 92 h 127"/>
                <a:gd name="T36" fmla="*/ 106 w 126"/>
                <a:gd name="T37" fmla="*/ 103 h 127"/>
                <a:gd name="T38" fmla="*/ 106 w 126"/>
                <a:gd name="T39" fmla="*/ 103 h 127"/>
                <a:gd name="T40" fmla="*/ 96 w 126"/>
                <a:gd name="T41" fmla="*/ 113 h 127"/>
                <a:gd name="T42" fmla="*/ 85 w 126"/>
                <a:gd name="T43" fmla="*/ 119 h 127"/>
                <a:gd name="T44" fmla="*/ 74 w 126"/>
                <a:gd name="T45" fmla="*/ 125 h 127"/>
                <a:gd name="T46" fmla="*/ 61 w 126"/>
                <a:gd name="T47" fmla="*/ 127 h 127"/>
                <a:gd name="T48" fmla="*/ 49 w 126"/>
                <a:gd name="T49" fmla="*/ 127 h 127"/>
                <a:gd name="T50" fmla="*/ 38 w 126"/>
                <a:gd name="T51" fmla="*/ 126 h 127"/>
                <a:gd name="T52" fmla="*/ 27 w 126"/>
                <a:gd name="T53" fmla="*/ 121 h 127"/>
                <a:gd name="T54" fmla="*/ 17 w 126"/>
                <a:gd name="T55" fmla="*/ 115 h 127"/>
                <a:gd name="T56" fmla="*/ 17 w 126"/>
                <a:gd name="T57" fmla="*/ 115 h 127"/>
                <a:gd name="T58" fmla="*/ 10 w 126"/>
                <a:gd name="T59" fmla="*/ 106 h 127"/>
                <a:gd name="T60" fmla="*/ 5 w 126"/>
                <a:gd name="T61" fmla="*/ 95 h 127"/>
                <a:gd name="T62" fmla="*/ 1 w 126"/>
                <a:gd name="T63" fmla="*/ 84 h 127"/>
                <a:gd name="T64" fmla="*/ 0 w 126"/>
                <a:gd name="T65" fmla="*/ 73 h 127"/>
                <a:gd name="T66" fmla="*/ 1 w 126"/>
                <a:gd name="T67" fmla="*/ 61 h 127"/>
                <a:gd name="T68" fmla="*/ 5 w 126"/>
                <a:gd name="T69" fmla="*/ 48 h 127"/>
                <a:gd name="T70" fmla="*/ 11 w 126"/>
                <a:gd name="T71" fmla="*/ 36 h 127"/>
                <a:gd name="T72" fmla="*/ 19 w 126"/>
                <a:gd name="T73" fmla="*/ 25 h 127"/>
                <a:gd name="T74" fmla="*/ 19 w 126"/>
                <a:gd name="T75" fmla="*/ 2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" h="127">
                  <a:moveTo>
                    <a:pt x="19" y="25"/>
                  </a:moveTo>
                  <a:lnTo>
                    <a:pt x="19" y="25"/>
                  </a:lnTo>
                  <a:lnTo>
                    <a:pt x="29" y="16"/>
                  </a:lnTo>
                  <a:lnTo>
                    <a:pt x="40" y="9"/>
                  </a:lnTo>
                  <a:lnTo>
                    <a:pt x="52" y="4"/>
                  </a:lnTo>
                  <a:lnTo>
                    <a:pt x="64" y="0"/>
                  </a:lnTo>
                  <a:lnTo>
                    <a:pt x="76" y="0"/>
                  </a:lnTo>
                  <a:lnTo>
                    <a:pt x="87" y="3"/>
                  </a:lnTo>
                  <a:lnTo>
                    <a:pt x="98" y="6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16" y="23"/>
                  </a:lnTo>
                  <a:lnTo>
                    <a:pt x="121" y="32"/>
                  </a:lnTo>
                  <a:lnTo>
                    <a:pt x="124" y="43"/>
                  </a:lnTo>
                  <a:lnTo>
                    <a:pt x="126" y="56"/>
                  </a:lnTo>
                  <a:lnTo>
                    <a:pt x="124" y="68"/>
                  </a:lnTo>
                  <a:lnTo>
                    <a:pt x="121" y="81"/>
                  </a:lnTo>
                  <a:lnTo>
                    <a:pt x="114" y="92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96" y="113"/>
                  </a:lnTo>
                  <a:lnTo>
                    <a:pt x="85" y="119"/>
                  </a:lnTo>
                  <a:lnTo>
                    <a:pt x="74" y="125"/>
                  </a:lnTo>
                  <a:lnTo>
                    <a:pt x="61" y="127"/>
                  </a:lnTo>
                  <a:lnTo>
                    <a:pt x="49" y="127"/>
                  </a:lnTo>
                  <a:lnTo>
                    <a:pt x="38" y="126"/>
                  </a:lnTo>
                  <a:lnTo>
                    <a:pt x="27" y="121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0" y="106"/>
                  </a:lnTo>
                  <a:lnTo>
                    <a:pt x="5" y="95"/>
                  </a:lnTo>
                  <a:lnTo>
                    <a:pt x="1" y="84"/>
                  </a:lnTo>
                  <a:lnTo>
                    <a:pt x="0" y="73"/>
                  </a:lnTo>
                  <a:lnTo>
                    <a:pt x="1" y="61"/>
                  </a:lnTo>
                  <a:lnTo>
                    <a:pt x="5" y="48"/>
                  </a:lnTo>
                  <a:lnTo>
                    <a:pt x="11" y="36"/>
                  </a:lnTo>
                  <a:lnTo>
                    <a:pt x="19" y="25"/>
                  </a:lnTo>
                  <a:lnTo>
                    <a:pt x="19" y="25"/>
                  </a:lnTo>
                  <a:close/>
                </a:path>
              </a:pathLst>
            </a:custGeom>
            <a:solidFill>
              <a:srgbClr val="FEC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Freeform 288">
              <a:extLst>
                <a:ext uri="{FF2B5EF4-FFF2-40B4-BE49-F238E27FC236}">
                  <a16:creationId xmlns:a16="http://schemas.microsoft.com/office/drawing/2014/main" id="{05574D02-0FFA-4B5F-9718-00B66367D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88" y="3062288"/>
              <a:ext cx="182563" cy="188913"/>
            </a:xfrm>
            <a:custGeom>
              <a:avLst/>
              <a:gdLst>
                <a:gd name="T0" fmla="*/ 20 w 115"/>
                <a:gd name="T1" fmla="*/ 26 h 119"/>
                <a:gd name="T2" fmla="*/ 20 w 115"/>
                <a:gd name="T3" fmla="*/ 26 h 119"/>
                <a:gd name="T4" fmla="*/ 28 w 115"/>
                <a:gd name="T5" fmla="*/ 18 h 119"/>
                <a:gd name="T6" fmla="*/ 39 w 115"/>
                <a:gd name="T7" fmla="*/ 10 h 119"/>
                <a:gd name="T8" fmla="*/ 51 w 115"/>
                <a:gd name="T9" fmla="*/ 5 h 119"/>
                <a:gd name="T10" fmla="*/ 62 w 115"/>
                <a:gd name="T11" fmla="*/ 2 h 119"/>
                <a:gd name="T12" fmla="*/ 72 w 115"/>
                <a:gd name="T13" fmla="*/ 0 h 119"/>
                <a:gd name="T14" fmla="*/ 83 w 115"/>
                <a:gd name="T15" fmla="*/ 2 h 119"/>
                <a:gd name="T16" fmla="*/ 92 w 115"/>
                <a:gd name="T17" fmla="*/ 5 h 119"/>
                <a:gd name="T18" fmla="*/ 100 w 115"/>
                <a:gd name="T19" fmla="*/ 10 h 119"/>
                <a:gd name="T20" fmla="*/ 100 w 115"/>
                <a:gd name="T21" fmla="*/ 10 h 119"/>
                <a:gd name="T22" fmla="*/ 107 w 115"/>
                <a:gd name="T23" fmla="*/ 19 h 119"/>
                <a:gd name="T24" fmla="*/ 112 w 115"/>
                <a:gd name="T25" fmla="*/ 27 h 119"/>
                <a:gd name="T26" fmla="*/ 113 w 115"/>
                <a:gd name="T27" fmla="*/ 37 h 119"/>
                <a:gd name="T28" fmla="*/ 115 w 115"/>
                <a:gd name="T29" fmla="*/ 48 h 119"/>
                <a:gd name="T30" fmla="*/ 112 w 115"/>
                <a:gd name="T31" fmla="*/ 60 h 119"/>
                <a:gd name="T32" fmla="*/ 109 w 115"/>
                <a:gd name="T33" fmla="*/ 72 h 119"/>
                <a:gd name="T34" fmla="*/ 102 w 115"/>
                <a:gd name="T35" fmla="*/ 83 h 119"/>
                <a:gd name="T36" fmla="*/ 94 w 115"/>
                <a:gd name="T37" fmla="*/ 93 h 119"/>
                <a:gd name="T38" fmla="*/ 94 w 115"/>
                <a:gd name="T39" fmla="*/ 93 h 119"/>
                <a:gd name="T40" fmla="*/ 85 w 115"/>
                <a:gd name="T41" fmla="*/ 103 h 119"/>
                <a:gd name="T42" fmla="*/ 74 w 115"/>
                <a:gd name="T43" fmla="*/ 110 h 119"/>
                <a:gd name="T44" fmla="*/ 63 w 115"/>
                <a:gd name="T45" fmla="*/ 115 h 119"/>
                <a:gd name="T46" fmla="*/ 53 w 115"/>
                <a:gd name="T47" fmla="*/ 118 h 119"/>
                <a:gd name="T48" fmla="*/ 42 w 115"/>
                <a:gd name="T49" fmla="*/ 119 h 119"/>
                <a:gd name="T50" fmla="*/ 31 w 115"/>
                <a:gd name="T51" fmla="*/ 118 h 119"/>
                <a:gd name="T52" fmla="*/ 22 w 115"/>
                <a:gd name="T53" fmla="*/ 115 h 119"/>
                <a:gd name="T54" fmla="*/ 14 w 115"/>
                <a:gd name="T55" fmla="*/ 109 h 119"/>
                <a:gd name="T56" fmla="*/ 14 w 115"/>
                <a:gd name="T57" fmla="*/ 109 h 119"/>
                <a:gd name="T58" fmla="*/ 6 w 115"/>
                <a:gd name="T59" fmla="*/ 101 h 119"/>
                <a:gd name="T60" fmla="*/ 2 w 115"/>
                <a:gd name="T61" fmla="*/ 92 h 119"/>
                <a:gd name="T62" fmla="*/ 0 w 115"/>
                <a:gd name="T63" fmla="*/ 82 h 119"/>
                <a:gd name="T64" fmla="*/ 0 w 115"/>
                <a:gd name="T65" fmla="*/ 71 h 119"/>
                <a:gd name="T66" fmla="*/ 1 w 115"/>
                <a:gd name="T67" fmla="*/ 60 h 119"/>
                <a:gd name="T68" fmla="*/ 5 w 115"/>
                <a:gd name="T69" fmla="*/ 48 h 119"/>
                <a:gd name="T70" fmla="*/ 11 w 115"/>
                <a:gd name="T71" fmla="*/ 37 h 119"/>
                <a:gd name="T72" fmla="*/ 20 w 115"/>
                <a:gd name="T73" fmla="*/ 26 h 119"/>
                <a:gd name="T74" fmla="*/ 20 w 115"/>
                <a:gd name="T75" fmla="*/ 26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" h="119">
                  <a:moveTo>
                    <a:pt x="20" y="26"/>
                  </a:moveTo>
                  <a:lnTo>
                    <a:pt x="20" y="26"/>
                  </a:lnTo>
                  <a:lnTo>
                    <a:pt x="28" y="18"/>
                  </a:lnTo>
                  <a:lnTo>
                    <a:pt x="39" y="10"/>
                  </a:lnTo>
                  <a:lnTo>
                    <a:pt x="51" y="5"/>
                  </a:lnTo>
                  <a:lnTo>
                    <a:pt x="62" y="2"/>
                  </a:lnTo>
                  <a:lnTo>
                    <a:pt x="72" y="0"/>
                  </a:lnTo>
                  <a:lnTo>
                    <a:pt x="83" y="2"/>
                  </a:lnTo>
                  <a:lnTo>
                    <a:pt x="92" y="5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7" y="19"/>
                  </a:lnTo>
                  <a:lnTo>
                    <a:pt x="112" y="27"/>
                  </a:lnTo>
                  <a:lnTo>
                    <a:pt x="113" y="37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72"/>
                  </a:lnTo>
                  <a:lnTo>
                    <a:pt x="102" y="8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85" y="103"/>
                  </a:lnTo>
                  <a:lnTo>
                    <a:pt x="74" y="110"/>
                  </a:lnTo>
                  <a:lnTo>
                    <a:pt x="63" y="115"/>
                  </a:lnTo>
                  <a:lnTo>
                    <a:pt x="53" y="118"/>
                  </a:lnTo>
                  <a:lnTo>
                    <a:pt x="42" y="119"/>
                  </a:lnTo>
                  <a:lnTo>
                    <a:pt x="31" y="118"/>
                  </a:lnTo>
                  <a:lnTo>
                    <a:pt x="22" y="115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6" y="101"/>
                  </a:lnTo>
                  <a:lnTo>
                    <a:pt x="2" y="92"/>
                  </a:lnTo>
                  <a:lnTo>
                    <a:pt x="0" y="82"/>
                  </a:lnTo>
                  <a:lnTo>
                    <a:pt x="0" y="71"/>
                  </a:lnTo>
                  <a:lnTo>
                    <a:pt x="1" y="60"/>
                  </a:lnTo>
                  <a:lnTo>
                    <a:pt x="5" y="48"/>
                  </a:lnTo>
                  <a:lnTo>
                    <a:pt x="11" y="37"/>
                  </a:lnTo>
                  <a:lnTo>
                    <a:pt x="20" y="26"/>
                  </a:lnTo>
                  <a:lnTo>
                    <a:pt x="20" y="26"/>
                  </a:lnTo>
                  <a:close/>
                </a:path>
              </a:pathLst>
            </a:custGeom>
            <a:solidFill>
              <a:srgbClr val="F6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289">
              <a:extLst>
                <a:ext uri="{FF2B5EF4-FFF2-40B4-BE49-F238E27FC236}">
                  <a16:creationId xmlns:a16="http://schemas.microsoft.com/office/drawing/2014/main" id="{4A068C44-08A9-489E-93B4-F6B4DA3DC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3" y="3079750"/>
              <a:ext cx="142875" cy="147638"/>
            </a:xfrm>
            <a:custGeom>
              <a:avLst/>
              <a:gdLst>
                <a:gd name="T0" fmla="*/ 16 w 90"/>
                <a:gd name="T1" fmla="*/ 20 h 93"/>
                <a:gd name="T2" fmla="*/ 16 w 90"/>
                <a:gd name="T3" fmla="*/ 20 h 93"/>
                <a:gd name="T4" fmla="*/ 23 w 90"/>
                <a:gd name="T5" fmla="*/ 13 h 93"/>
                <a:gd name="T6" fmla="*/ 32 w 90"/>
                <a:gd name="T7" fmla="*/ 8 h 93"/>
                <a:gd name="T8" fmla="*/ 41 w 90"/>
                <a:gd name="T9" fmla="*/ 3 h 93"/>
                <a:gd name="T10" fmla="*/ 49 w 90"/>
                <a:gd name="T11" fmla="*/ 0 h 93"/>
                <a:gd name="T12" fmla="*/ 58 w 90"/>
                <a:gd name="T13" fmla="*/ 0 h 93"/>
                <a:gd name="T14" fmla="*/ 65 w 90"/>
                <a:gd name="T15" fmla="*/ 0 h 93"/>
                <a:gd name="T16" fmla="*/ 73 w 90"/>
                <a:gd name="T17" fmla="*/ 3 h 93"/>
                <a:gd name="T18" fmla="*/ 80 w 90"/>
                <a:gd name="T19" fmla="*/ 8 h 93"/>
                <a:gd name="T20" fmla="*/ 80 w 90"/>
                <a:gd name="T21" fmla="*/ 8 h 93"/>
                <a:gd name="T22" fmla="*/ 85 w 90"/>
                <a:gd name="T23" fmla="*/ 14 h 93"/>
                <a:gd name="T24" fmla="*/ 89 w 90"/>
                <a:gd name="T25" fmla="*/ 21 h 93"/>
                <a:gd name="T26" fmla="*/ 90 w 90"/>
                <a:gd name="T27" fmla="*/ 29 h 93"/>
                <a:gd name="T28" fmla="*/ 90 w 90"/>
                <a:gd name="T29" fmla="*/ 37 h 93"/>
                <a:gd name="T30" fmla="*/ 89 w 90"/>
                <a:gd name="T31" fmla="*/ 47 h 93"/>
                <a:gd name="T32" fmla="*/ 86 w 90"/>
                <a:gd name="T33" fmla="*/ 56 h 93"/>
                <a:gd name="T34" fmla="*/ 81 w 90"/>
                <a:gd name="T35" fmla="*/ 65 h 93"/>
                <a:gd name="T36" fmla="*/ 75 w 90"/>
                <a:gd name="T37" fmla="*/ 73 h 93"/>
                <a:gd name="T38" fmla="*/ 75 w 90"/>
                <a:gd name="T39" fmla="*/ 73 h 93"/>
                <a:gd name="T40" fmla="*/ 68 w 90"/>
                <a:gd name="T41" fmla="*/ 81 h 93"/>
                <a:gd name="T42" fmla="*/ 59 w 90"/>
                <a:gd name="T43" fmla="*/ 86 h 93"/>
                <a:gd name="T44" fmla="*/ 50 w 90"/>
                <a:gd name="T45" fmla="*/ 90 h 93"/>
                <a:gd name="T46" fmla="*/ 42 w 90"/>
                <a:gd name="T47" fmla="*/ 93 h 93"/>
                <a:gd name="T48" fmla="*/ 33 w 90"/>
                <a:gd name="T49" fmla="*/ 93 h 93"/>
                <a:gd name="T50" fmla="*/ 26 w 90"/>
                <a:gd name="T51" fmla="*/ 93 h 93"/>
                <a:gd name="T52" fmla="*/ 17 w 90"/>
                <a:gd name="T53" fmla="*/ 89 h 93"/>
                <a:gd name="T54" fmla="*/ 11 w 90"/>
                <a:gd name="T55" fmla="*/ 86 h 93"/>
                <a:gd name="T56" fmla="*/ 11 w 90"/>
                <a:gd name="T57" fmla="*/ 86 h 93"/>
                <a:gd name="T58" fmla="*/ 6 w 90"/>
                <a:gd name="T59" fmla="*/ 79 h 93"/>
                <a:gd name="T60" fmla="*/ 2 w 90"/>
                <a:gd name="T61" fmla="*/ 72 h 93"/>
                <a:gd name="T62" fmla="*/ 0 w 90"/>
                <a:gd name="T63" fmla="*/ 65 h 93"/>
                <a:gd name="T64" fmla="*/ 0 w 90"/>
                <a:gd name="T65" fmla="*/ 56 h 93"/>
                <a:gd name="T66" fmla="*/ 1 w 90"/>
                <a:gd name="T67" fmla="*/ 46 h 93"/>
                <a:gd name="T68" fmla="*/ 5 w 90"/>
                <a:gd name="T69" fmla="*/ 37 h 93"/>
                <a:gd name="T70" fmla="*/ 10 w 90"/>
                <a:gd name="T71" fmla="*/ 29 h 93"/>
                <a:gd name="T72" fmla="*/ 16 w 90"/>
                <a:gd name="T73" fmla="*/ 20 h 93"/>
                <a:gd name="T74" fmla="*/ 16 w 90"/>
                <a:gd name="T7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93">
                  <a:moveTo>
                    <a:pt x="16" y="20"/>
                  </a:moveTo>
                  <a:lnTo>
                    <a:pt x="16" y="20"/>
                  </a:lnTo>
                  <a:lnTo>
                    <a:pt x="23" y="13"/>
                  </a:lnTo>
                  <a:lnTo>
                    <a:pt x="32" y="8"/>
                  </a:lnTo>
                  <a:lnTo>
                    <a:pt x="41" y="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73" y="3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5" y="14"/>
                  </a:lnTo>
                  <a:lnTo>
                    <a:pt x="89" y="21"/>
                  </a:lnTo>
                  <a:lnTo>
                    <a:pt x="90" y="29"/>
                  </a:lnTo>
                  <a:lnTo>
                    <a:pt x="90" y="37"/>
                  </a:lnTo>
                  <a:lnTo>
                    <a:pt x="89" y="47"/>
                  </a:lnTo>
                  <a:lnTo>
                    <a:pt x="86" y="56"/>
                  </a:lnTo>
                  <a:lnTo>
                    <a:pt x="81" y="65"/>
                  </a:lnTo>
                  <a:lnTo>
                    <a:pt x="75" y="73"/>
                  </a:lnTo>
                  <a:lnTo>
                    <a:pt x="75" y="73"/>
                  </a:lnTo>
                  <a:lnTo>
                    <a:pt x="68" y="81"/>
                  </a:lnTo>
                  <a:lnTo>
                    <a:pt x="59" y="86"/>
                  </a:lnTo>
                  <a:lnTo>
                    <a:pt x="50" y="90"/>
                  </a:lnTo>
                  <a:lnTo>
                    <a:pt x="42" y="93"/>
                  </a:lnTo>
                  <a:lnTo>
                    <a:pt x="33" y="93"/>
                  </a:lnTo>
                  <a:lnTo>
                    <a:pt x="26" y="93"/>
                  </a:lnTo>
                  <a:lnTo>
                    <a:pt x="17" y="89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6" y="79"/>
                  </a:lnTo>
                  <a:lnTo>
                    <a:pt x="2" y="72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" y="46"/>
                  </a:lnTo>
                  <a:lnTo>
                    <a:pt x="5" y="37"/>
                  </a:lnTo>
                  <a:lnTo>
                    <a:pt x="10" y="29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FEC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Freeform 290">
              <a:extLst>
                <a:ext uri="{FF2B5EF4-FFF2-40B4-BE49-F238E27FC236}">
                  <a16:creationId xmlns:a16="http://schemas.microsoft.com/office/drawing/2014/main" id="{310BDBFF-B425-4A77-8491-7841F25233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563" y="3108325"/>
              <a:ext cx="92075" cy="92075"/>
            </a:xfrm>
            <a:custGeom>
              <a:avLst/>
              <a:gdLst>
                <a:gd name="T0" fmla="*/ 52 w 58"/>
                <a:gd name="T1" fmla="*/ 8 h 58"/>
                <a:gd name="T2" fmla="*/ 55 w 58"/>
                <a:gd name="T3" fmla="*/ 14 h 58"/>
                <a:gd name="T4" fmla="*/ 55 w 58"/>
                <a:gd name="T5" fmla="*/ 22 h 58"/>
                <a:gd name="T6" fmla="*/ 53 w 58"/>
                <a:gd name="T7" fmla="*/ 23 h 58"/>
                <a:gd name="T8" fmla="*/ 52 w 58"/>
                <a:gd name="T9" fmla="*/ 23 h 58"/>
                <a:gd name="T10" fmla="*/ 50 w 58"/>
                <a:gd name="T11" fmla="*/ 23 h 58"/>
                <a:gd name="T12" fmla="*/ 50 w 58"/>
                <a:gd name="T13" fmla="*/ 22 h 58"/>
                <a:gd name="T14" fmla="*/ 49 w 58"/>
                <a:gd name="T15" fmla="*/ 19 h 58"/>
                <a:gd name="T16" fmla="*/ 49 w 58"/>
                <a:gd name="T17" fmla="*/ 16 h 58"/>
                <a:gd name="T18" fmla="*/ 31 w 58"/>
                <a:gd name="T19" fmla="*/ 28 h 58"/>
                <a:gd name="T20" fmla="*/ 33 w 58"/>
                <a:gd name="T21" fmla="*/ 33 h 58"/>
                <a:gd name="T22" fmla="*/ 34 w 58"/>
                <a:gd name="T23" fmla="*/ 38 h 58"/>
                <a:gd name="T24" fmla="*/ 33 w 58"/>
                <a:gd name="T25" fmla="*/ 43 h 58"/>
                <a:gd name="T26" fmla="*/ 29 w 58"/>
                <a:gd name="T27" fmla="*/ 49 h 58"/>
                <a:gd name="T28" fmla="*/ 25 w 58"/>
                <a:gd name="T29" fmla="*/ 53 h 58"/>
                <a:gd name="T30" fmla="*/ 20 w 58"/>
                <a:gd name="T31" fmla="*/ 55 h 58"/>
                <a:gd name="T32" fmla="*/ 13 w 58"/>
                <a:gd name="T33" fmla="*/ 55 h 58"/>
                <a:gd name="T34" fmla="*/ 11 w 58"/>
                <a:gd name="T35" fmla="*/ 54 h 58"/>
                <a:gd name="T36" fmla="*/ 4 w 58"/>
                <a:gd name="T37" fmla="*/ 56 h 58"/>
                <a:gd name="T38" fmla="*/ 2 w 58"/>
                <a:gd name="T39" fmla="*/ 58 h 58"/>
                <a:gd name="T40" fmla="*/ 1 w 58"/>
                <a:gd name="T41" fmla="*/ 56 h 58"/>
                <a:gd name="T42" fmla="*/ 5 w 58"/>
                <a:gd name="T43" fmla="*/ 49 h 58"/>
                <a:gd name="T44" fmla="*/ 2 w 58"/>
                <a:gd name="T45" fmla="*/ 44 h 58"/>
                <a:gd name="T46" fmla="*/ 2 w 58"/>
                <a:gd name="T47" fmla="*/ 38 h 58"/>
                <a:gd name="T48" fmla="*/ 5 w 58"/>
                <a:gd name="T49" fmla="*/ 37 h 58"/>
                <a:gd name="T50" fmla="*/ 7 w 58"/>
                <a:gd name="T51" fmla="*/ 37 h 58"/>
                <a:gd name="T52" fmla="*/ 7 w 58"/>
                <a:gd name="T53" fmla="*/ 38 h 58"/>
                <a:gd name="T54" fmla="*/ 7 w 58"/>
                <a:gd name="T55" fmla="*/ 39 h 58"/>
                <a:gd name="T56" fmla="*/ 9 w 58"/>
                <a:gd name="T57" fmla="*/ 42 h 58"/>
                <a:gd name="T58" fmla="*/ 25 w 58"/>
                <a:gd name="T59" fmla="*/ 31 h 58"/>
                <a:gd name="T60" fmla="*/ 22 w 58"/>
                <a:gd name="T61" fmla="*/ 26 h 58"/>
                <a:gd name="T62" fmla="*/ 21 w 58"/>
                <a:gd name="T63" fmla="*/ 21 h 58"/>
                <a:gd name="T64" fmla="*/ 22 w 58"/>
                <a:gd name="T65" fmla="*/ 16 h 58"/>
                <a:gd name="T66" fmla="*/ 26 w 58"/>
                <a:gd name="T67" fmla="*/ 10 h 58"/>
                <a:gd name="T68" fmla="*/ 31 w 58"/>
                <a:gd name="T69" fmla="*/ 5 h 58"/>
                <a:gd name="T70" fmla="*/ 37 w 58"/>
                <a:gd name="T71" fmla="*/ 2 h 58"/>
                <a:gd name="T72" fmla="*/ 43 w 58"/>
                <a:gd name="T73" fmla="*/ 2 h 58"/>
                <a:gd name="T74" fmla="*/ 46 w 58"/>
                <a:gd name="T75" fmla="*/ 3 h 58"/>
                <a:gd name="T76" fmla="*/ 54 w 58"/>
                <a:gd name="T77" fmla="*/ 0 h 58"/>
                <a:gd name="T78" fmla="*/ 55 w 58"/>
                <a:gd name="T79" fmla="*/ 0 h 58"/>
                <a:gd name="T80" fmla="*/ 57 w 58"/>
                <a:gd name="T81" fmla="*/ 0 h 58"/>
                <a:gd name="T82" fmla="*/ 52 w 58"/>
                <a:gd name="T83" fmla="*/ 8 h 58"/>
                <a:gd name="T84" fmla="*/ 25 w 58"/>
                <a:gd name="T85" fmla="*/ 45 h 58"/>
                <a:gd name="T86" fmla="*/ 27 w 58"/>
                <a:gd name="T87" fmla="*/ 43 h 58"/>
                <a:gd name="T88" fmla="*/ 27 w 58"/>
                <a:gd name="T89" fmla="*/ 39 h 58"/>
                <a:gd name="T90" fmla="*/ 27 w 58"/>
                <a:gd name="T91" fmla="*/ 37 h 58"/>
                <a:gd name="T92" fmla="*/ 12 w 58"/>
                <a:gd name="T93" fmla="*/ 48 h 58"/>
                <a:gd name="T94" fmla="*/ 16 w 58"/>
                <a:gd name="T95" fmla="*/ 49 h 58"/>
                <a:gd name="T96" fmla="*/ 20 w 58"/>
                <a:gd name="T97" fmla="*/ 49 h 58"/>
                <a:gd name="T98" fmla="*/ 22 w 58"/>
                <a:gd name="T99" fmla="*/ 48 h 58"/>
                <a:gd name="T100" fmla="*/ 25 w 58"/>
                <a:gd name="T101" fmla="*/ 45 h 58"/>
                <a:gd name="T102" fmla="*/ 31 w 58"/>
                <a:gd name="T103" fmla="*/ 12 h 58"/>
                <a:gd name="T104" fmla="*/ 28 w 58"/>
                <a:gd name="T105" fmla="*/ 16 h 58"/>
                <a:gd name="T106" fmla="*/ 28 w 58"/>
                <a:gd name="T107" fmla="*/ 18 h 58"/>
                <a:gd name="T108" fmla="*/ 28 w 58"/>
                <a:gd name="T109" fmla="*/ 22 h 58"/>
                <a:gd name="T110" fmla="*/ 29 w 58"/>
                <a:gd name="T111" fmla="*/ 24 h 58"/>
                <a:gd name="T112" fmla="*/ 44 w 58"/>
                <a:gd name="T113" fmla="*/ 10 h 58"/>
                <a:gd name="T114" fmla="*/ 41 w 58"/>
                <a:gd name="T115" fmla="*/ 8 h 58"/>
                <a:gd name="T116" fmla="*/ 37 w 58"/>
                <a:gd name="T117" fmla="*/ 8 h 58"/>
                <a:gd name="T118" fmla="*/ 33 w 58"/>
                <a:gd name="T119" fmla="*/ 10 h 58"/>
                <a:gd name="T120" fmla="*/ 31 w 58"/>
                <a:gd name="T121" fmla="*/ 1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" h="58">
                  <a:moveTo>
                    <a:pt x="52" y="8"/>
                  </a:moveTo>
                  <a:lnTo>
                    <a:pt x="52" y="8"/>
                  </a:lnTo>
                  <a:lnTo>
                    <a:pt x="54" y="11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22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7" y="12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1" y="54"/>
                  </a:lnTo>
                  <a:lnTo>
                    <a:pt x="9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1" y="56"/>
                  </a:lnTo>
                  <a:lnTo>
                    <a:pt x="0" y="55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0" y="45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6" y="3"/>
                  </a:lnTo>
                  <a:lnTo>
                    <a:pt x="49" y="6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8" y="1"/>
                  </a:lnTo>
                  <a:lnTo>
                    <a:pt x="52" y="8"/>
                  </a:lnTo>
                  <a:close/>
                  <a:moveTo>
                    <a:pt x="25" y="45"/>
                  </a:moveTo>
                  <a:lnTo>
                    <a:pt x="25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5" y="45"/>
                  </a:lnTo>
                  <a:lnTo>
                    <a:pt x="25" y="45"/>
                  </a:lnTo>
                  <a:close/>
                  <a:moveTo>
                    <a:pt x="31" y="12"/>
                  </a:moveTo>
                  <a:lnTo>
                    <a:pt x="31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9" y="24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1" y="12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rgbClr val="F6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291">
              <a:extLst>
                <a:ext uri="{FF2B5EF4-FFF2-40B4-BE49-F238E27FC236}">
                  <a16:creationId xmlns:a16="http://schemas.microsoft.com/office/drawing/2014/main" id="{9899956B-6340-41C9-AF84-BC097DFCE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338" y="3309938"/>
              <a:ext cx="7938" cy="52388"/>
            </a:xfrm>
            <a:custGeom>
              <a:avLst/>
              <a:gdLst>
                <a:gd name="T0" fmla="*/ 3 w 5"/>
                <a:gd name="T1" fmla="*/ 33 h 33"/>
                <a:gd name="T2" fmla="*/ 3 w 5"/>
                <a:gd name="T3" fmla="*/ 33 h 33"/>
                <a:gd name="T4" fmla="*/ 2 w 5"/>
                <a:gd name="T5" fmla="*/ 32 h 33"/>
                <a:gd name="T6" fmla="*/ 0 w 5"/>
                <a:gd name="T7" fmla="*/ 31 h 33"/>
                <a:gd name="T8" fmla="*/ 0 w 5"/>
                <a:gd name="T9" fmla="*/ 2 h 33"/>
                <a:gd name="T10" fmla="*/ 0 w 5"/>
                <a:gd name="T11" fmla="*/ 2 h 33"/>
                <a:gd name="T12" fmla="*/ 2 w 5"/>
                <a:gd name="T13" fmla="*/ 0 h 33"/>
                <a:gd name="T14" fmla="*/ 3 w 5"/>
                <a:gd name="T15" fmla="*/ 0 h 33"/>
                <a:gd name="T16" fmla="*/ 3 w 5"/>
                <a:gd name="T17" fmla="*/ 0 h 33"/>
                <a:gd name="T18" fmla="*/ 4 w 5"/>
                <a:gd name="T19" fmla="*/ 0 h 33"/>
                <a:gd name="T20" fmla="*/ 5 w 5"/>
                <a:gd name="T21" fmla="*/ 2 h 33"/>
                <a:gd name="T22" fmla="*/ 5 w 5"/>
                <a:gd name="T23" fmla="*/ 31 h 33"/>
                <a:gd name="T24" fmla="*/ 5 w 5"/>
                <a:gd name="T25" fmla="*/ 31 h 33"/>
                <a:gd name="T26" fmla="*/ 4 w 5"/>
                <a:gd name="T27" fmla="*/ 32 h 33"/>
                <a:gd name="T28" fmla="*/ 3 w 5"/>
                <a:gd name="T29" fmla="*/ 33 h 33"/>
                <a:gd name="T30" fmla="*/ 3 w 5"/>
                <a:gd name="T3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33">
                  <a:moveTo>
                    <a:pt x="3" y="33"/>
                  </a:moveTo>
                  <a:lnTo>
                    <a:pt x="3" y="33"/>
                  </a:lnTo>
                  <a:lnTo>
                    <a:pt x="2" y="32"/>
                  </a:lnTo>
                  <a:lnTo>
                    <a:pt x="0" y="31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2"/>
                  </a:lnTo>
                  <a:lnTo>
                    <a:pt x="3" y="33"/>
                  </a:lnTo>
                  <a:lnTo>
                    <a:pt x="3" y="33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292">
              <a:extLst>
                <a:ext uri="{FF2B5EF4-FFF2-40B4-BE49-F238E27FC236}">
                  <a16:creationId xmlns:a16="http://schemas.microsoft.com/office/drawing/2014/main" id="{46824E7C-83E2-4BFD-9BD9-8E6792896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425" y="3344863"/>
              <a:ext cx="47625" cy="31750"/>
            </a:xfrm>
            <a:custGeom>
              <a:avLst/>
              <a:gdLst>
                <a:gd name="T0" fmla="*/ 27 w 30"/>
                <a:gd name="T1" fmla="*/ 20 h 20"/>
                <a:gd name="T2" fmla="*/ 27 w 30"/>
                <a:gd name="T3" fmla="*/ 20 h 20"/>
                <a:gd name="T4" fmla="*/ 26 w 30"/>
                <a:gd name="T5" fmla="*/ 18 h 20"/>
                <a:gd name="T6" fmla="*/ 1 w 30"/>
                <a:gd name="T7" fmla="*/ 5 h 20"/>
                <a:gd name="T8" fmla="*/ 1 w 30"/>
                <a:gd name="T9" fmla="*/ 5 h 20"/>
                <a:gd name="T10" fmla="*/ 0 w 30"/>
                <a:gd name="T11" fmla="*/ 4 h 20"/>
                <a:gd name="T12" fmla="*/ 1 w 30"/>
                <a:gd name="T13" fmla="*/ 1 h 20"/>
                <a:gd name="T14" fmla="*/ 1 w 30"/>
                <a:gd name="T15" fmla="*/ 1 h 20"/>
                <a:gd name="T16" fmla="*/ 2 w 30"/>
                <a:gd name="T17" fmla="*/ 0 h 20"/>
                <a:gd name="T18" fmla="*/ 4 w 30"/>
                <a:gd name="T19" fmla="*/ 1 h 20"/>
                <a:gd name="T20" fmla="*/ 28 w 30"/>
                <a:gd name="T21" fmla="*/ 15 h 20"/>
                <a:gd name="T22" fmla="*/ 28 w 30"/>
                <a:gd name="T23" fmla="*/ 15 h 20"/>
                <a:gd name="T24" fmla="*/ 30 w 30"/>
                <a:gd name="T25" fmla="*/ 16 h 20"/>
                <a:gd name="T26" fmla="*/ 30 w 30"/>
                <a:gd name="T27" fmla="*/ 18 h 20"/>
                <a:gd name="T28" fmla="*/ 30 w 30"/>
                <a:gd name="T29" fmla="*/ 18 h 20"/>
                <a:gd name="T30" fmla="*/ 27 w 30"/>
                <a:gd name="T31" fmla="*/ 20 h 20"/>
                <a:gd name="T32" fmla="*/ 27 w 30"/>
                <a:gd name="T3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20">
                  <a:moveTo>
                    <a:pt x="27" y="20"/>
                  </a:moveTo>
                  <a:lnTo>
                    <a:pt x="27" y="20"/>
                  </a:lnTo>
                  <a:lnTo>
                    <a:pt x="26" y="18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7" y="20"/>
                  </a:lnTo>
                  <a:lnTo>
                    <a:pt x="27" y="2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Freeform 293">
              <a:extLst>
                <a:ext uri="{FF2B5EF4-FFF2-40B4-BE49-F238E27FC236}">
                  <a16:creationId xmlns:a16="http://schemas.microsoft.com/office/drawing/2014/main" id="{08CEAB23-B0D8-44E0-8B34-5FBB081EC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425" y="3394075"/>
              <a:ext cx="47625" cy="31750"/>
            </a:xfrm>
            <a:custGeom>
              <a:avLst/>
              <a:gdLst>
                <a:gd name="T0" fmla="*/ 2 w 30"/>
                <a:gd name="T1" fmla="*/ 20 h 20"/>
                <a:gd name="T2" fmla="*/ 2 w 30"/>
                <a:gd name="T3" fmla="*/ 20 h 20"/>
                <a:gd name="T4" fmla="*/ 1 w 30"/>
                <a:gd name="T5" fmla="*/ 18 h 20"/>
                <a:gd name="T6" fmla="*/ 1 w 30"/>
                <a:gd name="T7" fmla="*/ 18 h 20"/>
                <a:gd name="T8" fmla="*/ 0 w 30"/>
                <a:gd name="T9" fmla="*/ 16 h 20"/>
                <a:gd name="T10" fmla="*/ 1 w 30"/>
                <a:gd name="T11" fmla="*/ 15 h 20"/>
                <a:gd name="T12" fmla="*/ 26 w 30"/>
                <a:gd name="T13" fmla="*/ 1 h 20"/>
                <a:gd name="T14" fmla="*/ 26 w 30"/>
                <a:gd name="T15" fmla="*/ 1 h 20"/>
                <a:gd name="T16" fmla="*/ 28 w 30"/>
                <a:gd name="T17" fmla="*/ 0 h 20"/>
                <a:gd name="T18" fmla="*/ 30 w 30"/>
                <a:gd name="T19" fmla="*/ 1 h 20"/>
                <a:gd name="T20" fmla="*/ 30 w 30"/>
                <a:gd name="T21" fmla="*/ 1 h 20"/>
                <a:gd name="T22" fmla="*/ 30 w 30"/>
                <a:gd name="T23" fmla="*/ 3 h 20"/>
                <a:gd name="T24" fmla="*/ 28 w 30"/>
                <a:gd name="T25" fmla="*/ 5 h 20"/>
                <a:gd name="T26" fmla="*/ 4 w 30"/>
                <a:gd name="T27" fmla="*/ 18 h 20"/>
                <a:gd name="T28" fmla="*/ 4 w 30"/>
                <a:gd name="T29" fmla="*/ 18 h 20"/>
                <a:gd name="T30" fmla="*/ 2 w 30"/>
                <a:gd name="T31" fmla="*/ 20 h 20"/>
                <a:gd name="T32" fmla="*/ 2 w 30"/>
                <a:gd name="T3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20">
                  <a:moveTo>
                    <a:pt x="2" y="20"/>
                  </a:moveTo>
                  <a:lnTo>
                    <a:pt x="2" y="20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5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8" y="0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3"/>
                  </a:lnTo>
                  <a:lnTo>
                    <a:pt x="28" y="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294">
              <a:extLst>
                <a:ext uri="{FF2B5EF4-FFF2-40B4-BE49-F238E27FC236}">
                  <a16:creationId xmlns:a16="http://schemas.microsoft.com/office/drawing/2014/main" id="{67DBA9C4-4351-42FD-94AE-1DB46297B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338" y="3406775"/>
              <a:ext cx="7938" cy="53975"/>
            </a:xfrm>
            <a:custGeom>
              <a:avLst/>
              <a:gdLst>
                <a:gd name="T0" fmla="*/ 3 w 5"/>
                <a:gd name="T1" fmla="*/ 34 h 34"/>
                <a:gd name="T2" fmla="*/ 3 w 5"/>
                <a:gd name="T3" fmla="*/ 34 h 34"/>
                <a:gd name="T4" fmla="*/ 2 w 5"/>
                <a:gd name="T5" fmla="*/ 34 h 34"/>
                <a:gd name="T6" fmla="*/ 0 w 5"/>
                <a:gd name="T7" fmla="*/ 31 h 34"/>
                <a:gd name="T8" fmla="*/ 0 w 5"/>
                <a:gd name="T9" fmla="*/ 3 h 34"/>
                <a:gd name="T10" fmla="*/ 0 w 5"/>
                <a:gd name="T11" fmla="*/ 3 h 34"/>
                <a:gd name="T12" fmla="*/ 2 w 5"/>
                <a:gd name="T13" fmla="*/ 2 h 34"/>
                <a:gd name="T14" fmla="*/ 3 w 5"/>
                <a:gd name="T15" fmla="*/ 0 h 34"/>
                <a:gd name="T16" fmla="*/ 3 w 5"/>
                <a:gd name="T17" fmla="*/ 0 h 34"/>
                <a:gd name="T18" fmla="*/ 4 w 5"/>
                <a:gd name="T19" fmla="*/ 2 h 34"/>
                <a:gd name="T20" fmla="*/ 5 w 5"/>
                <a:gd name="T21" fmla="*/ 3 h 34"/>
                <a:gd name="T22" fmla="*/ 5 w 5"/>
                <a:gd name="T23" fmla="*/ 31 h 34"/>
                <a:gd name="T24" fmla="*/ 5 w 5"/>
                <a:gd name="T25" fmla="*/ 31 h 34"/>
                <a:gd name="T26" fmla="*/ 4 w 5"/>
                <a:gd name="T27" fmla="*/ 34 h 34"/>
                <a:gd name="T28" fmla="*/ 3 w 5"/>
                <a:gd name="T29" fmla="*/ 34 h 34"/>
                <a:gd name="T30" fmla="*/ 3 w 5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34">
                  <a:moveTo>
                    <a:pt x="3" y="34"/>
                  </a:moveTo>
                  <a:lnTo>
                    <a:pt x="3" y="34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2"/>
                  </a:lnTo>
                  <a:lnTo>
                    <a:pt x="5" y="3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Freeform 295">
              <a:extLst>
                <a:ext uri="{FF2B5EF4-FFF2-40B4-BE49-F238E27FC236}">
                  <a16:creationId xmlns:a16="http://schemas.microsoft.com/office/drawing/2014/main" id="{A82150B2-798A-4909-912A-E2B62EC74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150" y="3344863"/>
              <a:ext cx="47625" cy="31750"/>
            </a:xfrm>
            <a:custGeom>
              <a:avLst/>
              <a:gdLst>
                <a:gd name="T0" fmla="*/ 3 w 30"/>
                <a:gd name="T1" fmla="*/ 20 h 20"/>
                <a:gd name="T2" fmla="*/ 3 w 30"/>
                <a:gd name="T3" fmla="*/ 20 h 20"/>
                <a:gd name="T4" fmla="*/ 0 w 30"/>
                <a:gd name="T5" fmla="*/ 18 h 20"/>
                <a:gd name="T6" fmla="*/ 0 w 30"/>
                <a:gd name="T7" fmla="*/ 18 h 20"/>
                <a:gd name="T8" fmla="*/ 0 w 30"/>
                <a:gd name="T9" fmla="*/ 16 h 20"/>
                <a:gd name="T10" fmla="*/ 2 w 30"/>
                <a:gd name="T11" fmla="*/ 15 h 20"/>
                <a:gd name="T12" fmla="*/ 26 w 30"/>
                <a:gd name="T13" fmla="*/ 1 h 20"/>
                <a:gd name="T14" fmla="*/ 26 w 30"/>
                <a:gd name="T15" fmla="*/ 1 h 20"/>
                <a:gd name="T16" fmla="*/ 27 w 30"/>
                <a:gd name="T17" fmla="*/ 0 h 20"/>
                <a:gd name="T18" fmla="*/ 29 w 30"/>
                <a:gd name="T19" fmla="*/ 1 h 20"/>
                <a:gd name="T20" fmla="*/ 29 w 30"/>
                <a:gd name="T21" fmla="*/ 1 h 20"/>
                <a:gd name="T22" fmla="*/ 30 w 30"/>
                <a:gd name="T23" fmla="*/ 4 h 20"/>
                <a:gd name="T24" fmla="*/ 29 w 30"/>
                <a:gd name="T25" fmla="*/ 5 h 20"/>
                <a:gd name="T26" fmla="*/ 4 w 30"/>
                <a:gd name="T27" fmla="*/ 18 h 20"/>
                <a:gd name="T28" fmla="*/ 4 w 30"/>
                <a:gd name="T29" fmla="*/ 18 h 20"/>
                <a:gd name="T30" fmla="*/ 3 w 30"/>
                <a:gd name="T31" fmla="*/ 20 h 20"/>
                <a:gd name="T32" fmla="*/ 3 w 30"/>
                <a:gd name="T3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20">
                  <a:moveTo>
                    <a:pt x="3" y="20"/>
                  </a:moveTo>
                  <a:lnTo>
                    <a:pt x="3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5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4"/>
                  </a:lnTo>
                  <a:lnTo>
                    <a:pt x="29" y="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2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402">
              <a:extLst>
                <a:ext uri="{FF2B5EF4-FFF2-40B4-BE49-F238E27FC236}">
                  <a16:creationId xmlns:a16="http://schemas.microsoft.com/office/drawing/2014/main" id="{490EF294-F13C-4B71-ABBE-94B705BF7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8" y="3622675"/>
              <a:ext cx="46038" cy="9525"/>
            </a:xfrm>
            <a:custGeom>
              <a:avLst/>
              <a:gdLst>
                <a:gd name="T0" fmla="*/ 0 w 29"/>
                <a:gd name="T1" fmla="*/ 4 h 6"/>
                <a:gd name="T2" fmla="*/ 0 w 29"/>
                <a:gd name="T3" fmla="*/ 4 h 6"/>
                <a:gd name="T4" fmla="*/ 0 w 29"/>
                <a:gd name="T5" fmla="*/ 5 h 6"/>
                <a:gd name="T6" fmla="*/ 2 w 29"/>
                <a:gd name="T7" fmla="*/ 6 h 6"/>
                <a:gd name="T8" fmla="*/ 27 w 29"/>
                <a:gd name="T9" fmla="*/ 6 h 6"/>
                <a:gd name="T10" fmla="*/ 27 w 29"/>
                <a:gd name="T11" fmla="*/ 6 h 6"/>
                <a:gd name="T12" fmla="*/ 28 w 29"/>
                <a:gd name="T13" fmla="*/ 5 h 6"/>
                <a:gd name="T14" fmla="*/ 29 w 29"/>
                <a:gd name="T15" fmla="*/ 4 h 6"/>
                <a:gd name="T16" fmla="*/ 29 w 29"/>
                <a:gd name="T17" fmla="*/ 4 h 6"/>
                <a:gd name="T18" fmla="*/ 29 w 29"/>
                <a:gd name="T19" fmla="*/ 4 h 6"/>
                <a:gd name="T20" fmla="*/ 28 w 29"/>
                <a:gd name="T21" fmla="*/ 1 h 6"/>
                <a:gd name="T22" fmla="*/ 27 w 29"/>
                <a:gd name="T23" fmla="*/ 0 h 6"/>
                <a:gd name="T24" fmla="*/ 2 w 29"/>
                <a:gd name="T25" fmla="*/ 0 h 6"/>
                <a:gd name="T26" fmla="*/ 2 w 29"/>
                <a:gd name="T27" fmla="*/ 0 h 6"/>
                <a:gd name="T28" fmla="*/ 0 w 29"/>
                <a:gd name="T29" fmla="*/ 1 h 6"/>
                <a:gd name="T30" fmla="*/ 0 w 29"/>
                <a:gd name="T31" fmla="*/ 4 h 6"/>
                <a:gd name="T32" fmla="*/ 0 w 29"/>
                <a:gd name="T3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6">
                  <a:moveTo>
                    <a:pt x="0" y="4"/>
                  </a:moveTo>
                  <a:lnTo>
                    <a:pt x="0" y="4"/>
                  </a:lnTo>
                  <a:lnTo>
                    <a:pt x="0" y="5"/>
                  </a:lnTo>
                  <a:lnTo>
                    <a:pt x="2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8" y="1"/>
                  </a:lnTo>
                  <a:lnTo>
                    <a:pt x="27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8F7E2CD-83D8-4E80-B680-0200AA6D1F5D}"/>
              </a:ext>
            </a:extLst>
          </p:cNvPr>
          <p:cNvGrpSpPr/>
          <p:nvPr/>
        </p:nvGrpSpPr>
        <p:grpSpPr>
          <a:xfrm>
            <a:off x="3419864" y="3987632"/>
            <a:ext cx="509588" cy="481911"/>
            <a:chOff x="3362714" y="3987632"/>
            <a:chExt cx="509588" cy="481911"/>
          </a:xfrm>
        </p:grpSpPr>
        <p:sp>
          <p:nvSpPr>
            <p:cNvPr id="275" name="Freeform 15">
              <a:extLst>
                <a:ext uri="{FF2B5EF4-FFF2-40B4-BE49-F238E27FC236}">
                  <a16:creationId xmlns:a16="http://schemas.microsoft.com/office/drawing/2014/main" id="{6A0F5302-0911-4897-8DB9-7241AA439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2714" y="3987632"/>
              <a:ext cx="509588" cy="481911"/>
            </a:xfrm>
            <a:custGeom>
              <a:avLst/>
              <a:gdLst>
                <a:gd name="T0" fmla="*/ 333 w 701"/>
                <a:gd name="T1" fmla="*/ 700 h 700"/>
                <a:gd name="T2" fmla="*/ 280 w 701"/>
                <a:gd name="T3" fmla="*/ 693 h 700"/>
                <a:gd name="T4" fmla="*/ 231 w 701"/>
                <a:gd name="T5" fmla="*/ 679 h 700"/>
                <a:gd name="T6" fmla="*/ 184 w 701"/>
                <a:gd name="T7" fmla="*/ 658 h 700"/>
                <a:gd name="T8" fmla="*/ 141 w 701"/>
                <a:gd name="T9" fmla="*/ 631 h 700"/>
                <a:gd name="T10" fmla="*/ 102 w 701"/>
                <a:gd name="T11" fmla="*/ 598 h 700"/>
                <a:gd name="T12" fmla="*/ 70 w 701"/>
                <a:gd name="T13" fmla="*/ 560 h 700"/>
                <a:gd name="T14" fmla="*/ 43 w 701"/>
                <a:gd name="T15" fmla="*/ 517 h 700"/>
                <a:gd name="T16" fmla="*/ 21 w 701"/>
                <a:gd name="T17" fmla="*/ 471 h 700"/>
                <a:gd name="T18" fmla="*/ 7 w 701"/>
                <a:gd name="T19" fmla="*/ 420 h 700"/>
                <a:gd name="T20" fmla="*/ 1 w 701"/>
                <a:gd name="T21" fmla="*/ 369 h 700"/>
                <a:gd name="T22" fmla="*/ 1 w 701"/>
                <a:gd name="T23" fmla="*/ 331 h 700"/>
                <a:gd name="T24" fmla="*/ 7 w 701"/>
                <a:gd name="T25" fmla="*/ 280 h 700"/>
                <a:gd name="T26" fmla="*/ 21 w 701"/>
                <a:gd name="T27" fmla="*/ 229 h 700"/>
                <a:gd name="T28" fmla="*/ 43 w 701"/>
                <a:gd name="T29" fmla="*/ 183 h 700"/>
                <a:gd name="T30" fmla="*/ 70 w 701"/>
                <a:gd name="T31" fmla="*/ 140 h 700"/>
                <a:gd name="T32" fmla="*/ 102 w 701"/>
                <a:gd name="T33" fmla="*/ 102 h 700"/>
                <a:gd name="T34" fmla="*/ 141 w 701"/>
                <a:gd name="T35" fmla="*/ 69 h 700"/>
                <a:gd name="T36" fmla="*/ 184 w 701"/>
                <a:gd name="T37" fmla="*/ 42 h 700"/>
                <a:gd name="T38" fmla="*/ 231 w 701"/>
                <a:gd name="T39" fmla="*/ 21 h 700"/>
                <a:gd name="T40" fmla="*/ 280 w 701"/>
                <a:gd name="T41" fmla="*/ 7 h 700"/>
                <a:gd name="T42" fmla="*/ 333 w 701"/>
                <a:gd name="T43" fmla="*/ 0 h 700"/>
                <a:gd name="T44" fmla="*/ 369 w 701"/>
                <a:gd name="T45" fmla="*/ 0 h 700"/>
                <a:gd name="T46" fmla="*/ 422 w 701"/>
                <a:gd name="T47" fmla="*/ 7 h 700"/>
                <a:gd name="T48" fmla="*/ 471 w 701"/>
                <a:gd name="T49" fmla="*/ 21 h 700"/>
                <a:gd name="T50" fmla="*/ 518 w 701"/>
                <a:gd name="T51" fmla="*/ 42 h 700"/>
                <a:gd name="T52" fmla="*/ 560 w 701"/>
                <a:gd name="T53" fmla="*/ 69 h 700"/>
                <a:gd name="T54" fmla="*/ 598 w 701"/>
                <a:gd name="T55" fmla="*/ 102 h 700"/>
                <a:gd name="T56" fmla="*/ 631 w 701"/>
                <a:gd name="T57" fmla="*/ 140 h 700"/>
                <a:gd name="T58" fmla="*/ 659 w 701"/>
                <a:gd name="T59" fmla="*/ 183 h 700"/>
                <a:gd name="T60" fmla="*/ 680 w 701"/>
                <a:gd name="T61" fmla="*/ 229 h 700"/>
                <a:gd name="T62" fmla="*/ 694 w 701"/>
                <a:gd name="T63" fmla="*/ 280 h 700"/>
                <a:gd name="T64" fmla="*/ 701 w 701"/>
                <a:gd name="T65" fmla="*/ 331 h 700"/>
                <a:gd name="T66" fmla="*/ 701 w 701"/>
                <a:gd name="T67" fmla="*/ 369 h 700"/>
                <a:gd name="T68" fmla="*/ 694 w 701"/>
                <a:gd name="T69" fmla="*/ 420 h 700"/>
                <a:gd name="T70" fmla="*/ 680 w 701"/>
                <a:gd name="T71" fmla="*/ 471 h 700"/>
                <a:gd name="T72" fmla="*/ 659 w 701"/>
                <a:gd name="T73" fmla="*/ 517 h 700"/>
                <a:gd name="T74" fmla="*/ 631 w 701"/>
                <a:gd name="T75" fmla="*/ 560 h 700"/>
                <a:gd name="T76" fmla="*/ 598 w 701"/>
                <a:gd name="T77" fmla="*/ 598 h 700"/>
                <a:gd name="T78" fmla="*/ 560 w 701"/>
                <a:gd name="T79" fmla="*/ 631 h 700"/>
                <a:gd name="T80" fmla="*/ 518 w 701"/>
                <a:gd name="T81" fmla="*/ 658 h 700"/>
                <a:gd name="T82" fmla="*/ 471 w 701"/>
                <a:gd name="T83" fmla="*/ 679 h 700"/>
                <a:gd name="T84" fmla="*/ 422 w 701"/>
                <a:gd name="T85" fmla="*/ 693 h 700"/>
                <a:gd name="T86" fmla="*/ 369 w 701"/>
                <a:gd name="T87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1" h="700">
                  <a:moveTo>
                    <a:pt x="350" y="700"/>
                  </a:moveTo>
                  <a:lnTo>
                    <a:pt x="350" y="700"/>
                  </a:lnTo>
                  <a:lnTo>
                    <a:pt x="333" y="700"/>
                  </a:lnTo>
                  <a:lnTo>
                    <a:pt x="315" y="699"/>
                  </a:lnTo>
                  <a:lnTo>
                    <a:pt x="297" y="697"/>
                  </a:lnTo>
                  <a:lnTo>
                    <a:pt x="280" y="693"/>
                  </a:lnTo>
                  <a:lnTo>
                    <a:pt x="263" y="689"/>
                  </a:lnTo>
                  <a:lnTo>
                    <a:pt x="247" y="684"/>
                  </a:lnTo>
                  <a:lnTo>
                    <a:pt x="231" y="679"/>
                  </a:lnTo>
                  <a:lnTo>
                    <a:pt x="215" y="673"/>
                  </a:lnTo>
                  <a:lnTo>
                    <a:pt x="199" y="666"/>
                  </a:lnTo>
                  <a:lnTo>
                    <a:pt x="184" y="658"/>
                  </a:lnTo>
                  <a:lnTo>
                    <a:pt x="169" y="650"/>
                  </a:lnTo>
                  <a:lnTo>
                    <a:pt x="155" y="641"/>
                  </a:lnTo>
                  <a:lnTo>
                    <a:pt x="141" y="631"/>
                  </a:lnTo>
                  <a:lnTo>
                    <a:pt x="128" y="620"/>
                  </a:lnTo>
                  <a:lnTo>
                    <a:pt x="115" y="609"/>
                  </a:lnTo>
                  <a:lnTo>
                    <a:pt x="102" y="598"/>
                  </a:lnTo>
                  <a:lnTo>
                    <a:pt x="91" y="586"/>
                  </a:lnTo>
                  <a:lnTo>
                    <a:pt x="80" y="573"/>
                  </a:lnTo>
                  <a:lnTo>
                    <a:pt x="70" y="560"/>
                  </a:lnTo>
                  <a:lnTo>
                    <a:pt x="60" y="546"/>
                  </a:lnTo>
                  <a:lnTo>
                    <a:pt x="51" y="531"/>
                  </a:lnTo>
                  <a:lnTo>
                    <a:pt x="43" y="517"/>
                  </a:lnTo>
                  <a:lnTo>
                    <a:pt x="35" y="502"/>
                  </a:lnTo>
                  <a:lnTo>
                    <a:pt x="28" y="487"/>
                  </a:lnTo>
                  <a:lnTo>
                    <a:pt x="21" y="471"/>
                  </a:lnTo>
                  <a:lnTo>
                    <a:pt x="16" y="454"/>
                  </a:lnTo>
                  <a:lnTo>
                    <a:pt x="11" y="438"/>
                  </a:lnTo>
                  <a:lnTo>
                    <a:pt x="7" y="420"/>
                  </a:lnTo>
                  <a:lnTo>
                    <a:pt x="5" y="403"/>
                  </a:lnTo>
                  <a:lnTo>
                    <a:pt x="2" y="386"/>
                  </a:lnTo>
                  <a:lnTo>
                    <a:pt x="1" y="369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1" y="331"/>
                  </a:lnTo>
                  <a:lnTo>
                    <a:pt x="2" y="314"/>
                  </a:lnTo>
                  <a:lnTo>
                    <a:pt x="5" y="297"/>
                  </a:lnTo>
                  <a:lnTo>
                    <a:pt x="7" y="280"/>
                  </a:lnTo>
                  <a:lnTo>
                    <a:pt x="11" y="262"/>
                  </a:lnTo>
                  <a:lnTo>
                    <a:pt x="16" y="246"/>
                  </a:lnTo>
                  <a:lnTo>
                    <a:pt x="21" y="229"/>
                  </a:lnTo>
                  <a:lnTo>
                    <a:pt x="28" y="213"/>
                  </a:lnTo>
                  <a:lnTo>
                    <a:pt x="35" y="198"/>
                  </a:lnTo>
                  <a:lnTo>
                    <a:pt x="43" y="183"/>
                  </a:lnTo>
                  <a:lnTo>
                    <a:pt x="51" y="169"/>
                  </a:lnTo>
                  <a:lnTo>
                    <a:pt x="60" y="154"/>
                  </a:lnTo>
                  <a:lnTo>
                    <a:pt x="70" y="140"/>
                  </a:lnTo>
                  <a:lnTo>
                    <a:pt x="80" y="127"/>
                  </a:lnTo>
                  <a:lnTo>
                    <a:pt x="91" y="114"/>
                  </a:lnTo>
                  <a:lnTo>
                    <a:pt x="102" y="102"/>
                  </a:lnTo>
                  <a:lnTo>
                    <a:pt x="115" y="91"/>
                  </a:lnTo>
                  <a:lnTo>
                    <a:pt x="128" y="80"/>
                  </a:lnTo>
                  <a:lnTo>
                    <a:pt x="141" y="69"/>
                  </a:lnTo>
                  <a:lnTo>
                    <a:pt x="155" y="59"/>
                  </a:lnTo>
                  <a:lnTo>
                    <a:pt x="169" y="50"/>
                  </a:lnTo>
                  <a:lnTo>
                    <a:pt x="184" y="42"/>
                  </a:lnTo>
                  <a:lnTo>
                    <a:pt x="199" y="34"/>
                  </a:lnTo>
                  <a:lnTo>
                    <a:pt x="215" y="27"/>
                  </a:lnTo>
                  <a:lnTo>
                    <a:pt x="231" y="21"/>
                  </a:lnTo>
                  <a:lnTo>
                    <a:pt x="247" y="16"/>
                  </a:lnTo>
                  <a:lnTo>
                    <a:pt x="263" y="11"/>
                  </a:lnTo>
                  <a:lnTo>
                    <a:pt x="280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1"/>
                  </a:lnTo>
                  <a:lnTo>
                    <a:pt x="405" y="3"/>
                  </a:lnTo>
                  <a:lnTo>
                    <a:pt x="422" y="7"/>
                  </a:lnTo>
                  <a:lnTo>
                    <a:pt x="438" y="11"/>
                  </a:lnTo>
                  <a:lnTo>
                    <a:pt x="455" y="16"/>
                  </a:lnTo>
                  <a:lnTo>
                    <a:pt x="471" y="21"/>
                  </a:lnTo>
                  <a:lnTo>
                    <a:pt x="487" y="27"/>
                  </a:lnTo>
                  <a:lnTo>
                    <a:pt x="503" y="34"/>
                  </a:lnTo>
                  <a:lnTo>
                    <a:pt x="518" y="42"/>
                  </a:lnTo>
                  <a:lnTo>
                    <a:pt x="533" y="50"/>
                  </a:lnTo>
                  <a:lnTo>
                    <a:pt x="546" y="59"/>
                  </a:lnTo>
                  <a:lnTo>
                    <a:pt x="560" y="69"/>
                  </a:lnTo>
                  <a:lnTo>
                    <a:pt x="574" y="80"/>
                  </a:lnTo>
                  <a:lnTo>
                    <a:pt x="586" y="91"/>
                  </a:lnTo>
                  <a:lnTo>
                    <a:pt x="598" y="102"/>
                  </a:lnTo>
                  <a:lnTo>
                    <a:pt x="611" y="114"/>
                  </a:lnTo>
                  <a:lnTo>
                    <a:pt x="622" y="127"/>
                  </a:lnTo>
                  <a:lnTo>
                    <a:pt x="631" y="140"/>
                  </a:lnTo>
                  <a:lnTo>
                    <a:pt x="641" y="154"/>
                  </a:lnTo>
                  <a:lnTo>
                    <a:pt x="650" y="169"/>
                  </a:lnTo>
                  <a:lnTo>
                    <a:pt x="659" y="183"/>
                  </a:lnTo>
                  <a:lnTo>
                    <a:pt x="666" y="198"/>
                  </a:lnTo>
                  <a:lnTo>
                    <a:pt x="673" y="213"/>
                  </a:lnTo>
                  <a:lnTo>
                    <a:pt x="680" y="229"/>
                  </a:lnTo>
                  <a:lnTo>
                    <a:pt x="686" y="246"/>
                  </a:lnTo>
                  <a:lnTo>
                    <a:pt x="691" y="262"/>
                  </a:lnTo>
                  <a:lnTo>
                    <a:pt x="694" y="280"/>
                  </a:lnTo>
                  <a:lnTo>
                    <a:pt x="697" y="297"/>
                  </a:lnTo>
                  <a:lnTo>
                    <a:pt x="699" y="314"/>
                  </a:lnTo>
                  <a:lnTo>
                    <a:pt x="701" y="331"/>
                  </a:lnTo>
                  <a:lnTo>
                    <a:pt x="701" y="350"/>
                  </a:lnTo>
                  <a:lnTo>
                    <a:pt x="701" y="350"/>
                  </a:lnTo>
                  <a:lnTo>
                    <a:pt x="701" y="369"/>
                  </a:lnTo>
                  <a:lnTo>
                    <a:pt x="699" y="386"/>
                  </a:lnTo>
                  <a:lnTo>
                    <a:pt x="697" y="403"/>
                  </a:lnTo>
                  <a:lnTo>
                    <a:pt x="694" y="420"/>
                  </a:lnTo>
                  <a:lnTo>
                    <a:pt x="691" y="438"/>
                  </a:lnTo>
                  <a:lnTo>
                    <a:pt x="686" y="454"/>
                  </a:lnTo>
                  <a:lnTo>
                    <a:pt x="680" y="471"/>
                  </a:lnTo>
                  <a:lnTo>
                    <a:pt x="673" y="487"/>
                  </a:lnTo>
                  <a:lnTo>
                    <a:pt x="666" y="502"/>
                  </a:lnTo>
                  <a:lnTo>
                    <a:pt x="659" y="517"/>
                  </a:lnTo>
                  <a:lnTo>
                    <a:pt x="650" y="531"/>
                  </a:lnTo>
                  <a:lnTo>
                    <a:pt x="641" y="546"/>
                  </a:lnTo>
                  <a:lnTo>
                    <a:pt x="631" y="560"/>
                  </a:lnTo>
                  <a:lnTo>
                    <a:pt x="622" y="573"/>
                  </a:lnTo>
                  <a:lnTo>
                    <a:pt x="611" y="586"/>
                  </a:lnTo>
                  <a:lnTo>
                    <a:pt x="598" y="598"/>
                  </a:lnTo>
                  <a:lnTo>
                    <a:pt x="586" y="609"/>
                  </a:lnTo>
                  <a:lnTo>
                    <a:pt x="574" y="620"/>
                  </a:lnTo>
                  <a:lnTo>
                    <a:pt x="560" y="631"/>
                  </a:lnTo>
                  <a:lnTo>
                    <a:pt x="546" y="641"/>
                  </a:lnTo>
                  <a:lnTo>
                    <a:pt x="533" y="650"/>
                  </a:lnTo>
                  <a:lnTo>
                    <a:pt x="518" y="658"/>
                  </a:lnTo>
                  <a:lnTo>
                    <a:pt x="503" y="666"/>
                  </a:lnTo>
                  <a:lnTo>
                    <a:pt x="487" y="673"/>
                  </a:lnTo>
                  <a:lnTo>
                    <a:pt x="471" y="679"/>
                  </a:lnTo>
                  <a:lnTo>
                    <a:pt x="455" y="684"/>
                  </a:lnTo>
                  <a:lnTo>
                    <a:pt x="438" y="689"/>
                  </a:lnTo>
                  <a:lnTo>
                    <a:pt x="422" y="693"/>
                  </a:lnTo>
                  <a:lnTo>
                    <a:pt x="405" y="697"/>
                  </a:lnTo>
                  <a:lnTo>
                    <a:pt x="386" y="699"/>
                  </a:lnTo>
                  <a:lnTo>
                    <a:pt x="369" y="700"/>
                  </a:lnTo>
                  <a:lnTo>
                    <a:pt x="350" y="700"/>
                  </a:lnTo>
                  <a:lnTo>
                    <a:pt x="350" y="7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Freeform 31">
              <a:extLst>
                <a:ext uri="{FF2B5EF4-FFF2-40B4-BE49-F238E27FC236}">
                  <a16:creationId xmlns:a16="http://schemas.microsoft.com/office/drawing/2014/main" id="{3FB64A06-5A8E-46C3-A21B-0B6674EC4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628" y="4119557"/>
              <a:ext cx="392209" cy="347605"/>
            </a:xfrm>
            <a:custGeom>
              <a:avLst/>
              <a:gdLst>
                <a:gd name="T0" fmla="*/ 202 w 547"/>
                <a:gd name="T1" fmla="*/ 496 h 496"/>
                <a:gd name="T2" fmla="*/ 202 w 547"/>
                <a:gd name="T3" fmla="*/ 496 h 496"/>
                <a:gd name="T4" fmla="*/ 221 w 547"/>
                <a:gd name="T5" fmla="*/ 495 h 496"/>
                <a:gd name="T6" fmla="*/ 238 w 547"/>
                <a:gd name="T7" fmla="*/ 494 h 496"/>
                <a:gd name="T8" fmla="*/ 255 w 547"/>
                <a:gd name="T9" fmla="*/ 491 h 496"/>
                <a:gd name="T10" fmla="*/ 273 w 547"/>
                <a:gd name="T11" fmla="*/ 488 h 496"/>
                <a:gd name="T12" fmla="*/ 289 w 547"/>
                <a:gd name="T13" fmla="*/ 484 h 496"/>
                <a:gd name="T14" fmla="*/ 306 w 547"/>
                <a:gd name="T15" fmla="*/ 479 h 496"/>
                <a:gd name="T16" fmla="*/ 322 w 547"/>
                <a:gd name="T17" fmla="*/ 473 h 496"/>
                <a:gd name="T18" fmla="*/ 337 w 547"/>
                <a:gd name="T19" fmla="*/ 467 h 496"/>
                <a:gd name="T20" fmla="*/ 353 w 547"/>
                <a:gd name="T21" fmla="*/ 461 h 496"/>
                <a:gd name="T22" fmla="*/ 368 w 547"/>
                <a:gd name="T23" fmla="*/ 452 h 496"/>
                <a:gd name="T24" fmla="*/ 381 w 547"/>
                <a:gd name="T25" fmla="*/ 443 h 496"/>
                <a:gd name="T26" fmla="*/ 396 w 547"/>
                <a:gd name="T27" fmla="*/ 435 h 496"/>
                <a:gd name="T28" fmla="*/ 410 w 547"/>
                <a:gd name="T29" fmla="*/ 425 h 496"/>
                <a:gd name="T30" fmla="*/ 422 w 547"/>
                <a:gd name="T31" fmla="*/ 414 h 496"/>
                <a:gd name="T32" fmla="*/ 434 w 547"/>
                <a:gd name="T33" fmla="*/ 404 h 496"/>
                <a:gd name="T34" fmla="*/ 447 w 547"/>
                <a:gd name="T35" fmla="*/ 391 h 496"/>
                <a:gd name="T36" fmla="*/ 458 w 547"/>
                <a:gd name="T37" fmla="*/ 379 h 496"/>
                <a:gd name="T38" fmla="*/ 469 w 547"/>
                <a:gd name="T39" fmla="*/ 367 h 496"/>
                <a:gd name="T40" fmla="*/ 479 w 547"/>
                <a:gd name="T41" fmla="*/ 353 h 496"/>
                <a:gd name="T42" fmla="*/ 489 w 547"/>
                <a:gd name="T43" fmla="*/ 340 h 496"/>
                <a:gd name="T44" fmla="*/ 497 w 547"/>
                <a:gd name="T45" fmla="*/ 326 h 496"/>
                <a:gd name="T46" fmla="*/ 506 w 547"/>
                <a:gd name="T47" fmla="*/ 311 h 496"/>
                <a:gd name="T48" fmla="*/ 513 w 547"/>
                <a:gd name="T49" fmla="*/ 296 h 496"/>
                <a:gd name="T50" fmla="*/ 521 w 547"/>
                <a:gd name="T51" fmla="*/ 280 h 496"/>
                <a:gd name="T52" fmla="*/ 527 w 547"/>
                <a:gd name="T53" fmla="*/ 266 h 496"/>
                <a:gd name="T54" fmla="*/ 532 w 547"/>
                <a:gd name="T55" fmla="*/ 250 h 496"/>
                <a:gd name="T56" fmla="*/ 537 w 547"/>
                <a:gd name="T57" fmla="*/ 232 h 496"/>
                <a:gd name="T58" fmla="*/ 540 w 547"/>
                <a:gd name="T59" fmla="*/ 216 h 496"/>
                <a:gd name="T60" fmla="*/ 543 w 547"/>
                <a:gd name="T61" fmla="*/ 199 h 496"/>
                <a:gd name="T62" fmla="*/ 545 w 547"/>
                <a:gd name="T63" fmla="*/ 182 h 496"/>
                <a:gd name="T64" fmla="*/ 547 w 547"/>
                <a:gd name="T65" fmla="*/ 163 h 496"/>
                <a:gd name="T66" fmla="*/ 547 w 547"/>
                <a:gd name="T67" fmla="*/ 146 h 496"/>
                <a:gd name="T68" fmla="*/ 547 w 547"/>
                <a:gd name="T69" fmla="*/ 146 h 496"/>
                <a:gd name="T70" fmla="*/ 547 w 547"/>
                <a:gd name="T71" fmla="*/ 144 h 496"/>
                <a:gd name="T72" fmla="*/ 408 w 547"/>
                <a:gd name="T73" fmla="*/ 4 h 496"/>
                <a:gd name="T74" fmla="*/ 408 w 547"/>
                <a:gd name="T75" fmla="*/ 4 h 496"/>
                <a:gd name="T76" fmla="*/ 408 w 547"/>
                <a:gd name="T77" fmla="*/ 4 h 496"/>
                <a:gd name="T78" fmla="*/ 405 w 547"/>
                <a:gd name="T79" fmla="*/ 2 h 496"/>
                <a:gd name="T80" fmla="*/ 401 w 547"/>
                <a:gd name="T81" fmla="*/ 0 h 496"/>
                <a:gd name="T82" fmla="*/ 11 w 547"/>
                <a:gd name="T83" fmla="*/ 0 h 496"/>
                <a:gd name="T84" fmla="*/ 11 w 547"/>
                <a:gd name="T85" fmla="*/ 0 h 496"/>
                <a:gd name="T86" fmla="*/ 6 w 547"/>
                <a:gd name="T87" fmla="*/ 2 h 496"/>
                <a:gd name="T88" fmla="*/ 4 w 547"/>
                <a:gd name="T89" fmla="*/ 4 h 496"/>
                <a:gd name="T90" fmla="*/ 1 w 547"/>
                <a:gd name="T91" fmla="*/ 7 h 496"/>
                <a:gd name="T92" fmla="*/ 0 w 547"/>
                <a:gd name="T93" fmla="*/ 10 h 496"/>
                <a:gd name="T94" fmla="*/ 0 w 547"/>
                <a:gd name="T95" fmla="*/ 258 h 496"/>
                <a:gd name="T96" fmla="*/ 0 w 547"/>
                <a:gd name="T97" fmla="*/ 288 h 496"/>
                <a:gd name="T98" fmla="*/ 0 w 547"/>
                <a:gd name="T99" fmla="*/ 288 h 496"/>
                <a:gd name="T100" fmla="*/ 1 w 547"/>
                <a:gd name="T101" fmla="*/ 293 h 496"/>
                <a:gd name="T102" fmla="*/ 4 w 547"/>
                <a:gd name="T103" fmla="*/ 295 h 496"/>
                <a:gd name="T104" fmla="*/ 4 w 547"/>
                <a:gd name="T105" fmla="*/ 296 h 496"/>
                <a:gd name="T106" fmla="*/ 202 w 547"/>
                <a:gd name="T107" fmla="*/ 49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7" h="496">
                  <a:moveTo>
                    <a:pt x="202" y="496"/>
                  </a:moveTo>
                  <a:lnTo>
                    <a:pt x="202" y="496"/>
                  </a:lnTo>
                  <a:lnTo>
                    <a:pt x="221" y="495"/>
                  </a:lnTo>
                  <a:lnTo>
                    <a:pt x="238" y="494"/>
                  </a:lnTo>
                  <a:lnTo>
                    <a:pt x="255" y="491"/>
                  </a:lnTo>
                  <a:lnTo>
                    <a:pt x="273" y="488"/>
                  </a:lnTo>
                  <a:lnTo>
                    <a:pt x="289" y="484"/>
                  </a:lnTo>
                  <a:lnTo>
                    <a:pt x="306" y="479"/>
                  </a:lnTo>
                  <a:lnTo>
                    <a:pt x="322" y="473"/>
                  </a:lnTo>
                  <a:lnTo>
                    <a:pt x="337" y="467"/>
                  </a:lnTo>
                  <a:lnTo>
                    <a:pt x="353" y="461"/>
                  </a:lnTo>
                  <a:lnTo>
                    <a:pt x="368" y="452"/>
                  </a:lnTo>
                  <a:lnTo>
                    <a:pt x="381" y="443"/>
                  </a:lnTo>
                  <a:lnTo>
                    <a:pt x="396" y="435"/>
                  </a:lnTo>
                  <a:lnTo>
                    <a:pt x="410" y="425"/>
                  </a:lnTo>
                  <a:lnTo>
                    <a:pt x="422" y="414"/>
                  </a:lnTo>
                  <a:lnTo>
                    <a:pt x="434" y="404"/>
                  </a:lnTo>
                  <a:lnTo>
                    <a:pt x="447" y="391"/>
                  </a:lnTo>
                  <a:lnTo>
                    <a:pt x="458" y="379"/>
                  </a:lnTo>
                  <a:lnTo>
                    <a:pt x="469" y="367"/>
                  </a:lnTo>
                  <a:lnTo>
                    <a:pt x="479" y="353"/>
                  </a:lnTo>
                  <a:lnTo>
                    <a:pt x="489" y="340"/>
                  </a:lnTo>
                  <a:lnTo>
                    <a:pt x="497" y="326"/>
                  </a:lnTo>
                  <a:lnTo>
                    <a:pt x="506" y="311"/>
                  </a:lnTo>
                  <a:lnTo>
                    <a:pt x="513" y="296"/>
                  </a:lnTo>
                  <a:lnTo>
                    <a:pt x="521" y="280"/>
                  </a:lnTo>
                  <a:lnTo>
                    <a:pt x="527" y="266"/>
                  </a:lnTo>
                  <a:lnTo>
                    <a:pt x="532" y="250"/>
                  </a:lnTo>
                  <a:lnTo>
                    <a:pt x="537" y="232"/>
                  </a:lnTo>
                  <a:lnTo>
                    <a:pt x="540" y="216"/>
                  </a:lnTo>
                  <a:lnTo>
                    <a:pt x="543" y="199"/>
                  </a:lnTo>
                  <a:lnTo>
                    <a:pt x="545" y="182"/>
                  </a:lnTo>
                  <a:lnTo>
                    <a:pt x="547" y="163"/>
                  </a:lnTo>
                  <a:lnTo>
                    <a:pt x="547" y="146"/>
                  </a:lnTo>
                  <a:lnTo>
                    <a:pt x="547" y="146"/>
                  </a:lnTo>
                  <a:lnTo>
                    <a:pt x="547" y="144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05" y="2"/>
                  </a:lnTo>
                  <a:lnTo>
                    <a:pt x="4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25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1" y="293"/>
                  </a:lnTo>
                  <a:lnTo>
                    <a:pt x="4" y="295"/>
                  </a:lnTo>
                  <a:lnTo>
                    <a:pt x="4" y="296"/>
                  </a:lnTo>
                  <a:lnTo>
                    <a:pt x="202" y="496"/>
                  </a:lnTo>
                  <a:close/>
                </a:path>
              </a:pathLst>
            </a:custGeom>
            <a:solidFill>
              <a:schemeClr val="accent2">
                <a:lumMod val="75000"/>
                <a:alpha val="5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5EFBAAC6-8382-413C-9331-52A733E79958}"/>
                </a:ext>
              </a:extLst>
            </p:cNvPr>
            <p:cNvGrpSpPr/>
            <p:nvPr/>
          </p:nvGrpSpPr>
          <p:grpSpPr>
            <a:xfrm>
              <a:off x="3421476" y="4065158"/>
              <a:ext cx="392064" cy="315293"/>
              <a:chOff x="3816350" y="577850"/>
              <a:chExt cx="1581151" cy="1174751"/>
            </a:xfrm>
            <a:solidFill>
              <a:schemeClr val="bg1"/>
            </a:solidFill>
          </p:grpSpPr>
          <p:sp>
            <p:nvSpPr>
              <p:cNvPr id="237" name="Freeform 19">
                <a:extLst>
                  <a:ext uri="{FF2B5EF4-FFF2-40B4-BE49-F238E27FC236}">
                    <a16:creationId xmlns:a16="http://schemas.microsoft.com/office/drawing/2014/main" id="{4A59D85C-228D-4CEB-B9F3-95F777890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6350" y="577850"/>
                <a:ext cx="709613" cy="668338"/>
              </a:xfrm>
              <a:custGeom>
                <a:avLst/>
                <a:gdLst/>
                <a:ahLst/>
                <a:cxnLst>
                  <a:cxn ang="0">
                    <a:pos x="334" y="108"/>
                  </a:cxn>
                  <a:cxn ang="0">
                    <a:pos x="336" y="100"/>
                  </a:cxn>
                  <a:cxn ang="0">
                    <a:pos x="335" y="93"/>
                  </a:cxn>
                  <a:cxn ang="0">
                    <a:pos x="325" y="82"/>
                  </a:cxn>
                  <a:cxn ang="0">
                    <a:pos x="319" y="78"/>
                  </a:cxn>
                  <a:cxn ang="0">
                    <a:pos x="308" y="76"/>
                  </a:cxn>
                  <a:cxn ang="0">
                    <a:pos x="305" y="78"/>
                  </a:cxn>
                  <a:cxn ang="0">
                    <a:pos x="214" y="169"/>
                  </a:cxn>
                  <a:cxn ang="0">
                    <a:pos x="206" y="164"/>
                  </a:cxn>
                  <a:cxn ang="0">
                    <a:pos x="210" y="155"/>
                  </a:cxn>
                  <a:cxn ang="0">
                    <a:pos x="216" y="144"/>
                  </a:cxn>
                  <a:cxn ang="0">
                    <a:pos x="240" y="110"/>
                  </a:cxn>
                  <a:cxn ang="0">
                    <a:pos x="273" y="76"/>
                  </a:cxn>
                  <a:cxn ang="0">
                    <a:pos x="290" y="62"/>
                  </a:cxn>
                  <a:cxn ang="0">
                    <a:pos x="305" y="54"/>
                  </a:cxn>
                  <a:cxn ang="0">
                    <a:pos x="318" y="53"/>
                  </a:cxn>
                  <a:cxn ang="0">
                    <a:pos x="323" y="55"/>
                  </a:cxn>
                  <a:cxn ang="0">
                    <a:pos x="336" y="63"/>
                  </a:cxn>
                  <a:cxn ang="0">
                    <a:pos x="350" y="75"/>
                  </a:cxn>
                  <a:cxn ang="0">
                    <a:pos x="350" y="76"/>
                  </a:cxn>
                  <a:cxn ang="0">
                    <a:pos x="354" y="75"/>
                  </a:cxn>
                  <a:cxn ang="0">
                    <a:pos x="371" y="71"/>
                  </a:cxn>
                  <a:cxn ang="0">
                    <a:pos x="407" y="62"/>
                  </a:cxn>
                  <a:cxn ang="0">
                    <a:pos x="430" y="53"/>
                  </a:cxn>
                  <a:cxn ang="0">
                    <a:pos x="438" y="47"/>
                  </a:cxn>
                  <a:cxn ang="0">
                    <a:pos x="444" y="42"/>
                  </a:cxn>
                  <a:cxn ang="0">
                    <a:pos x="447" y="35"/>
                  </a:cxn>
                  <a:cxn ang="0">
                    <a:pos x="446" y="31"/>
                  </a:cxn>
                  <a:cxn ang="0">
                    <a:pos x="429" y="15"/>
                  </a:cxn>
                  <a:cxn ang="0">
                    <a:pos x="411" y="4"/>
                  </a:cxn>
                  <a:cxn ang="0">
                    <a:pos x="403" y="1"/>
                  </a:cxn>
                  <a:cxn ang="0">
                    <a:pos x="381" y="1"/>
                  </a:cxn>
                  <a:cxn ang="0">
                    <a:pos x="351" y="6"/>
                  </a:cxn>
                  <a:cxn ang="0">
                    <a:pos x="315" y="16"/>
                  </a:cxn>
                  <a:cxn ang="0">
                    <a:pos x="262" y="35"/>
                  </a:cxn>
                  <a:cxn ang="0">
                    <a:pos x="217" y="58"/>
                  </a:cxn>
                  <a:cxn ang="0">
                    <a:pos x="196" y="70"/>
                  </a:cxn>
                  <a:cxn ang="0">
                    <a:pos x="188" y="76"/>
                  </a:cxn>
                  <a:cxn ang="0">
                    <a:pos x="185" y="80"/>
                  </a:cxn>
                  <a:cxn ang="0">
                    <a:pos x="168" y="112"/>
                  </a:cxn>
                  <a:cxn ang="0">
                    <a:pos x="136" y="181"/>
                  </a:cxn>
                  <a:cxn ang="0">
                    <a:pos x="86" y="293"/>
                  </a:cxn>
                  <a:cxn ang="0">
                    <a:pos x="85" y="295"/>
                  </a:cxn>
                  <a:cxn ang="0">
                    <a:pos x="41" y="319"/>
                  </a:cxn>
                  <a:cxn ang="0">
                    <a:pos x="81" y="421"/>
                  </a:cxn>
                  <a:cxn ang="0">
                    <a:pos x="88" y="417"/>
                  </a:cxn>
                  <a:cxn ang="0">
                    <a:pos x="105" y="406"/>
                  </a:cxn>
                  <a:cxn ang="0">
                    <a:pos x="133" y="380"/>
                  </a:cxn>
                  <a:cxn ang="0">
                    <a:pos x="173" y="334"/>
                  </a:cxn>
                  <a:cxn ang="0">
                    <a:pos x="216" y="281"/>
                  </a:cxn>
                  <a:cxn ang="0">
                    <a:pos x="274" y="200"/>
                  </a:cxn>
                  <a:cxn ang="0">
                    <a:pos x="334" y="108"/>
                  </a:cxn>
                </a:cxnLst>
                <a:rect l="0" t="0" r="r" b="b"/>
                <a:pathLst>
                  <a:path w="447" h="421">
                    <a:moveTo>
                      <a:pt x="334" y="108"/>
                    </a:moveTo>
                    <a:lnTo>
                      <a:pt x="334" y="108"/>
                    </a:lnTo>
                    <a:lnTo>
                      <a:pt x="336" y="104"/>
                    </a:lnTo>
                    <a:lnTo>
                      <a:pt x="336" y="100"/>
                    </a:lnTo>
                    <a:lnTo>
                      <a:pt x="336" y="97"/>
                    </a:lnTo>
                    <a:lnTo>
                      <a:pt x="335" y="93"/>
                    </a:lnTo>
                    <a:lnTo>
                      <a:pt x="330" y="87"/>
                    </a:lnTo>
                    <a:lnTo>
                      <a:pt x="325" y="82"/>
                    </a:lnTo>
                    <a:lnTo>
                      <a:pt x="325" y="82"/>
                    </a:lnTo>
                    <a:lnTo>
                      <a:pt x="319" y="78"/>
                    </a:lnTo>
                    <a:lnTo>
                      <a:pt x="313" y="76"/>
                    </a:lnTo>
                    <a:lnTo>
                      <a:pt x="308" y="76"/>
                    </a:lnTo>
                    <a:lnTo>
                      <a:pt x="307" y="77"/>
                    </a:lnTo>
                    <a:lnTo>
                      <a:pt x="305" y="78"/>
                    </a:lnTo>
                    <a:lnTo>
                      <a:pt x="305" y="78"/>
                    </a:lnTo>
                    <a:lnTo>
                      <a:pt x="214" y="169"/>
                    </a:lnTo>
                    <a:lnTo>
                      <a:pt x="193" y="189"/>
                    </a:lnTo>
                    <a:lnTo>
                      <a:pt x="206" y="164"/>
                    </a:lnTo>
                    <a:lnTo>
                      <a:pt x="206" y="164"/>
                    </a:lnTo>
                    <a:lnTo>
                      <a:pt x="210" y="155"/>
                    </a:lnTo>
                    <a:lnTo>
                      <a:pt x="210" y="155"/>
                    </a:lnTo>
                    <a:lnTo>
                      <a:pt x="216" y="144"/>
                    </a:lnTo>
                    <a:lnTo>
                      <a:pt x="226" y="129"/>
                    </a:lnTo>
                    <a:lnTo>
                      <a:pt x="240" y="110"/>
                    </a:lnTo>
                    <a:lnTo>
                      <a:pt x="255" y="92"/>
                    </a:lnTo>
                    <a:lnTo>
                      <a:pt x="273" y="76"/>
                    </a:lnTo>
                    <a:lnTo>
                      <a:pt x="282" y="69"/>
                    </a:lnTo>
                    <a:lnTo>
                      <a:pt x="290" y="62"/>
                    </a:lnTo>
                    <a:lnTo>
                      <a:pt x="298" y="58"/>
                    </a:lnTo>
                    <a:lnTo>
                      <a:pt x="305" y="54"/>
                    </a:lnTo>
                    <a:lnTo>
                      <a:pt x="312" y="53"/>
                    </a:lnTo>
                    <a:lnTo>
                      <a:pt x="318" y="53"/>
                    </a:lnTo>
                    <a:lnTo>
                      <a:pt x="318" y="53"/>
                    </a:lnTo>
                    <a:lnTo>
                      <a:pt x="323" y="55"/>
                    </a:lnTo>
                    <a:lnTo>
                      <a:pt x="328" y="57"/>
                    </a:lnTo>
                    <a:lnTo>
                      <a:pt x="336" y="63"/>
                    </a:lnTo>
                    <a:lnTo>
                      <a:pt x="344" y="70"/>
                    </a:lnTo>
                    <a:lnTo>
                      <a:pt x="350" y="75"/>
                    </a:lnTo>
                    <a:lnTo>
                      <a:pt x="350" y="75"/>
                    </a:lnTo>
                    <a:lnTo>
                      <a:pt x="350" y="76"/>
                    </a:lnTo>
                    <a:lnTo>
                      <a:pt x="350" y="76"/>
                    </a:lnTo>
                    <a:lnTo>
                      <a:pt x="354" y="75"/>
                    </a:lnTo>
                    <a:lnTo>
                      <a:pt x="354" y="75"/>
                    </a:lnTo>
                    <a:lnTo>
                      <a:pt x="371" y="71"/>
                    </a:lnTo>
                    <a:lnTo>
                      <a:pt x="394" y="66"/>
                    </a:lnTo>
                    <a:lnTo>
                      <a:pt x="407" y="62"/>
                    </a:lnTo>
                    <a:lnTo>
                      <a:pt x="418" y="58"/>
                    </a:lnTo>
                    <a:lnTo>
                      <a:pt x="430" y="53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44" y="42"/>
                    </a:lnTo>
                    <a:lnTo>
                      <a:pt x="444" y="42"/>
                    </a:lnTo>
                    <a:lnTo>
                      <a:pt x="447" y="38"/>
                    </a:lnTo>
                    <a:lnTo>
                      <a:pt x="447" y="35"/>
                    </a:lnTo>
                    <a:lnTo>
                      <a:pt x="447" y="35"/>
                    </a:lnTo>
                    <a:lnTo>
                      <a:pt x="446" y="31"/>
                    </a:lnTo>
                    <a:lnTo>
                      <a:pt x="440" y="24"/>
                    </a:lnTo>
                    <a:lnTo>
                      <a:pt x="429" y="15"/>
                    </a:lnTo>
                    <a:lnTo>
                      <a:pt x="411" y="4"/>
                    </a:lnTo>
                    <a:lnTo>
                      <a:pt x="411" y="4"/>
                    </a:lnTo>
                    <a:lnTo>
                      <a:pt x="408" y="2"/>
                    </a:lnTo>
                    <a:lnTo>
                      <a:pt x="403" y="1"/>
                    </a:lnTo>
                    <a:lnTo>
                      <a:pt x="393" y="0"/>
                    </a:lnTo>
                    <a:lnTo>
                      <a:pt x="381" y="1"/>
                    </a:lnTo>
                    <a:lnTo>
                      <a:pt x="366" y="3"/>
                    </a:lnTo>
                    <a:lnTo>
                      <a:pt x="351" y="6"/>
                    </a:lnTo>
                    <a:lnTo>
                      <a:pt x="333" y="10"/>
                    </a:lnTo>
                    <a:lnTo>
                      <a:pt x="315" y="16"/>
                    </a:lnTo>
                    <a:lnTo>
                      <a:pt x="298" y="22"/>
                    </a:lnTo>
                    <a:lnTo>
                      <a:pt x="262" y="35"/>
                    </a:lnTo>
                    <a:lnTo>
                      <a:pt x="230" y="51"/>
                    </a:lnTo>
                    <a:lnTo>
                      <a:pt x="217" y="58"/>
                    </a:lnTo>
                    <a:lnTo>
                      <a:pt x="205" y="64"/>
                    </a:lnTo>
                    <a:lnTo>
                      <a:pt x="196" y="70"/>
                    </a:lnTo>
                    <a:lnTo>
                      <a:pt x="188" y="76"/>
                    </a:lnTo>
                    <a:lnTo>
                      <a:pt x="188" y="76"/>
                    </a:lnTo>
                    <a:lnTo>
                      <a:pt x="188" y="76"/>
                    </a:lnTo>
                    <a:lnTo>
                      <a:pt x="185" y="80"/>
                    </a:lnTo>
                    <a:lnTo>
                      <a:pt x="180" y="88"/>
                    </a:lnTo>
                    <a:lnTo>
                      <a:pt x="168" y="112"/>
                    </a:lnTo>
                    <a:lnTo>
                      <a:pt x="153" y="145"/>
                    </a:lnTo>
                    <a:lnTo>
                      <a:pt x="136" y="181"/>
                    </a:lnTo>
                    <a:lnTo>
                      <a:pt x="86" y="293"/>
                    </a:lnTo>
                    <a:lnTo>
                      <a:pt x="86" y="293"/>
                    </a:lnTo>
                    <a:lnTo>
                      <a:pt x="85" y="295"/>
                    </a:lnTo>
                    <a:lnTo>
                      <a:pt x="85" y="295"/>
                    </a:lnTo>
                    <a:lnTo>
                      <a:pt x="70" y="304"/>
                    </a:lnTo>
                    <a:lnTo>
                      <a:pt x="41" y="319"/>
                    </a:lnTo>
                    <a:lnTo>
                      <a:pt x="0" y="340"/>
                    </a:lnTo>
                    <a:lnTo>
                      <a:pt x="81" y="421"/>
                    </a:lnTo>
                    <a:lnTo>
                      <a:pt x="81" y="421"/>
                    </a:lnTo>
                    <a:lnTo>
                      <a:pt x="88" y="417"/>
                    </a:lnTo>
                    <a:lnTo>
                      <a:pt x="96" y="412"/>
                    </a:lnTo>
                    <a:lnTo>
                      <a:pt x="105" y="406"/>
                    </a:lnTo>
                    <a:lnTo>
                      <a:pt x="114" y="398"/>
                    </a:lnTo>
                    <a:lnTo>
                      <a:pt x="133" y="380"/>
                    </a:lnTo>
                    <a:lnTo>
                      <a:pt x="153" y="359"/>
                    </a:lnTo>
                    <a:lnTo>
                      <a:pt x="173" y="334"/>
                    </a:lnTo>
                    <a:lnTo>
                      <a:pt x="194" y="308"/>
                    </a:lnTo>
                    <a:lnTo>
                      <a:pt x="216" y="281"/>
                    </a:lnTo>
                    <a:lnTo>
                      <a:pt x="236" y="253"/>
                    </a:lnTo>
                    <a:lnTo>
                      <a:pt x="274" y="200"/>
                    </a:lnTo>
                    <a:lnTo>
                      <a:pt x="305" y="153"/>
                    </a:lnTo>
                    <a:lnTo>
                      <a:pt x="334" y="108"/>
                    </a:lnTo>
                    <a:lnTo>
                      <a:pt x="334" y="10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Freeform 20">
                <a:extLst>
                  <a:ext uri="{FF2B5EF4-FFF2-40B4-BE49-F238E27FC236}">
                    <a16:creationId xmlns:a16="http://schemas.microsoft.com/office/drawing/2014/main" id="{D2B74433-8799-4098-95C6-E218059A8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7888" y="577850"/>
                <a:ext cx="709613" cy="668338"/>
              </a:xfrm>
              <a:custGeom>
                <a:avLst/>
                <a:gdLst/>
                <a:ahLst/>
                <a:cxnLst>
                  <a:cxn ang="0">
                    <a:pos x="36" y="4"/>
                  </a:cxn>
                  <a:cxn ang="0">
                    <a:pos x="44" y="1"/>
                  </a:cxn>
                  <a:cxn ang="0">
                    <a:pos x="67" y="1"/>
                  </a:cxn>
                  <a:cxn ang="0">
                    <a:pos x="98" y="6"/>
                  </a:cxn>
                  <a:cxn ang="0">
                    <a:pos x="132" y="16"/>
                  </a:cxn>
                  <a:cxn ang="0">
                    <a:pos x="186" y="35"/>
                  </a:cxn>
                  <a:cxn ang="0">
                    <a:pos x="231" y="58"/>
                  </a:cxn>
                  <a:cxn ang="0">
                    <a:pos x="253" y="70"/>
                  </a:cxn>
                  <a:cxn ang="0">
                    <a:pos x="259" y="76"/>
                  </a:cxn>
                  <a:cxn ang="0">
                    <a:pos x="267" y="88"/>
                  </a:cxn>
                  <a:cxn ang="0">
                    <a:pos x="295" y="145"/>
                  </a:cxn>
                  <a:cxn ang="0">
                    <a:pos x="361" y="293"/>
                  </a:cxn>
                  <a:cxn ang="0">
                    <a:pos x="362" y="295"/>
                  </a:cxn>
                  <a:cxn ang="0">
                    <a:pos x="377" y="304"/>
                  </a:cxn>
                  <a:cxn ang="0">
                    <a:pos x="447" y="340"/>
                  </a:cxn>
                  <a:cxn ang="0">
                    <a:pos x="366" y="421"/>
                  </a:cxn>
                  <a:cxn ang="0">
                    <a:pos x="351" y="412"/>
                  </a:cxn>
                  <a:cxn ang="0">
                    <a:pos x="334" y="398"/>
                  </a:cxn>
                  <a:cxn ang="0">
                    <a:pos x="294" y="359"/>
                  </a:cxn>
                  <a:cxn ang="0">
                    <a:pos x="253" y="308"/>
                  </a:cxn>
                  <a:cxn ang="0">
                    <a:pos x="211" y="253"/>
                  </a:cxn>
                  <a:cxn ang="0">
                    <a:pos x="142" y="153"/>
                  </a:cxn>
                  <a:cxn ang="0">
                    <a:pos x="113" y="108"/>
                  </a:cxn>
                  <a:cxn ang="0">
                    <a:pos x="111" y="100"/>
                  </a:cxn>
                  <a:cxn ang="0">
                    <a:pos x="113" y="93"/>
                  </a:cxn>
                  <a:cxn ang="0">
                    <a:pos x="122" y="82"/>
                  </a:cxn>
                  <a:cxn ang="0">
                    <a:pos x="128" y="78"/>
                  </a:cxn>
                  <a:cxn ang="0">
                    <a:pos x="139" y="76"/>
                  </a:cxn>
                  <a:cxn ang="0">
                    <a:pos x="142" y="78"/>
                  </a:cxn>
                  <a:cxn ang="0">
                    <a:pos x="234" y="169"/>
                  </a:cxn>
                  <a:cxn ang="0">
                    <a:pos x="242" y="164"/>
                  </a:cxn>
                  <a:cxn ang="0">
                    <a:pos x="238" y="155"/>
                  </a:cxn>
                  <a:cxn ang="0">
                    <a:pos x="232" y="144"/>
                  </a:cxn>
                  <a:cxn ang="0">
                    <a:pos x="208" y="110"/>
                  </a:cxn>
                  <a:cxn ang="0">
                    <a:pos x="175" y="76"/>
                  </a:cxn>
                  <a:cxn ang="0">
                    <a:pos x="158" y="62"/>
                  </a:cxn>
                  <a:cxn ang="0">
                    <a:pos x="142" y="54"/>
                  </a:cxn>
                  <a:cxn ang="0">
                    <a:pos x="129" y="53"/>
                  </a:cxn>
                  <a:cxn ang="0">
                    <a:pos x="124" y="55"/>
                  </a:cxn>
                  <a:cxn ang="0">
                    <a:pos x="111" y="63"/>
                  </a:cxn>
                  <a:cxn ang="0">
                    <a:pos x="98" y="75"/>
                  </a:cxn>
                  <a:cxn ang="0">
                    <a:pos x="98" y="76"/>
                  </a:cxn>
                  <a:cxn ang="0">
                    <a:pos x="94" y="75"/>
                  </a:cxn>
                  <a:cxn ang="0">
                    <a:pos x="77" y="71"/>
                  </a:cxn>
                  <a:cxn ang="0">
                    <a:pos x="41" y="62"/>
                  </a:cxn>
                  <a:cxn ang="0">
                    <a:pos x="18" y="53"/>
                  </a:cxn>
                  <a:cxn ang="0">
                    <a:pos x="10" y="47"/>
                  </a:cxn>
                  <a:cxn ang="0">
                    <a:pos x="3" y="42"/>
                  </a:cxn>
                  <a:cxn ang="0">
                    <a:pos x="0" y="35"/>
                  </a:cxn>
                  <a:cxn ang="0">
                    <a:pos x="2" y="31"/>
                  </a:cxn>
                  <a:cxn ang="0">
                    <a:pos x="18" y="15"/>
                  </a:cxn>
                  <a:cxn ang="0">
                    <a:pos x="36" y="4"/>
                  </a:cxn>
                </a:cxnLst>
                <a:rect l="0" t="0" r="r" b="b"/>
                <a:pathLst>
                  <a:path w="447" h="421">
                    <a:moveTo>
                      <a:pt x="36" y="4"/>
                    </a:moveTo>
                    <a:lnTo>
                      <a:pt x="36" y="4"/>
                    </a:lnTo>
                    <a:lnTo>
                      <a:pt x="40" y="2"/>
                    </a:lnTo>
                    <a:lnTo>
                      <a:pt x="44" y="1"/>
                    </a:lnTo>
                    <a:lnTo>
                      <a:pt x="54" y="0"/>
                    </a:lnTo>
                    <a:lnTo>
                      <a:pt x="67" y="1"/>
                    </a:lnTo>
                    <a:lnTo>
                      <a:pt x="81" y="3"/>
                    </a:lnTo>
                    <a:lnTo>
                      <a:pt x="98" y="6"/>
                    </a:lnTo>
                    <a:lnTo>
                      <a:pt x="115" y="10"/>
                    </a:lnTo>
                    <a:lnTo>
                      <a:pt x="132" y="16"/>
                    </a:lnTo>
                    <a:lnTo>
                      <a:pt x="150" y="22"/>
                    </a:lnTo>
                    <a:lnTo>
                      <a:pt x="186" y="35"/>
                    </a:lnTo>
                    <a:lnTo>
                      <a:pt x="217" y="51"/>
                    </a:lnTo>
                    <a:lnTo>
                      <a:pt x="231" y="58"/>
                    </a:lnTo>
                    <a:lnTo>
                      <a:pt x="242" y="64"/>
                    </a:lnTo>
                    <a:lnTo>
                      <a:pt x="253" y="70"/>
                    </a:lnTo>
                    <a:lnTo>
                      <a:pt x="259" y="76"/>
                    </a:lnTo>
                    <a:lnTo>
                      <a:pt x="259" y="76"/>
                    </a:lnTo>
                    <a:lnTo>
                      <a:pt x="262" y="80"/>
                    </a:lnTo>
                    <a:lnTo>
                      <a:pt x="267" y="88"/>
                    </a:lnTo>
                    <a:lnTo>
                      <a:pt x="279" y="112"/>
                    </a:lnTo>
                    <a:lnTo>
                      <a:pt x="295" y="145"/>
                    </a:lnTo>
                    <a:lnTo>
                      <a:pt x="311" y="181"/>
                    </a:lnTo>
                    <a:lnTo>
                      <a:pt x="361" y="293"/>
                    </a:lnTo>
                    <a:lnTo>
                      <a:pt x="361" y="293"/>
                    </a:lnTo>
                    <a:lnTo>
                      <a:pt x="362" y="295"/>
                    </a:lnTo>
                    <a:lnTo>
                      <a:pt x="362" y="295"/>
                    </a:lnTo>
                    <a:lnTo>
                      <a:pt x="377" y="304"/>
                    </a:lnTo>
                    <a:lnTo>
                      <a:pt x="406" y="319"/>
                    </a:lnTo>
                    <a:lnTo>
                      <a:pt x="447" y="340"/>
                    </a:lnTo>
                    <a:lnTo>
                      <a:pt x="366" y="421"/>
                    </a:lnTo>
                    <a:lnTo>
                      <a:pt x="366" y="421"/>
                    </a:lnTo>
                    <a:lnTo>
                      <a:pt x="359" y="417"/>
                    </a:lnTo>
                    <a:lnTo>
                      <a:pt x="351" y="412"/>
                    </a:lnTo>
                    <a:lnTo>
                      <a:pt x="343" y="406"/>
                    </a:lnTo>
                    <a:lnTo>
                      <a:pt x="334" y="398"/>
                    </a:lnTo>
                    <a:lnTo>
                      <a:pt x="314" y="380"/>
                    </a:lnTo>
                    <a:lnTo>
                      <a:pt x="294" y="359"/>
                    </a:lnTo>
                    <a:lnTo>
                      <a:pt x="274" y="334"/>
                    </a:lnTo>
                    <a:lnTo>
                      <a:pt x="253" y="308"/>
                    </a:lnTo>
                    <a:lnTo>
                      <a:pt x="232" y="281"/>
                    </a:lnTo>
                    <a:lnTo>
                      <a:pt x="211" y="253"/>
                    </a:lnTo>
                    <a:lnTo>
                      <a:pt x="174" y="200"/>
                    </a:lnTo>
                    <a:lnTo>
                      <a:pt x="142" y="153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2" y="104"/>
                    </a:lnTo>
                    <a:lnTo>
                      <a:pt x="111" y="100"/>
                    </a:lnTo>
                    <a:lnTo>
                      <a:pt x="112" y="97"/>
                    </a:lnTo>
                    <a:lnTo>
                      <a:pt x="113" y="93"/>
                    </a:lnTo>
                    <a:lnTo>
                      <a:pt x="117" y="87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8" y="78"/>
                    </a:lnTo>
                    <a:lnTo>
                      <a:pt x="134" y="76"/>
                    </a:lnTo>
                    <a:lnTo>
                      <a:pt x="139" y="76"/>
                    </a:lnTo>
                    <a:lnTo>
                      <a:pt x="141" y="77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234" y="169"/>
                    </a:lnTo>
                    <a:lnTo>
                      <a:pt x="255" y="189"/>
                    </a:lnTo>
                    <a:lnTo>
                      <a:pt x="242" y="164"/>
                    </a:lnTo>
                    <a:lnTo>
                      <a:pt x="242" y="164"/>
                    </a:lnTo>
                    <a:lnTo>
                      <a:pt x="238" y="155"/>
                    </a:lnTo>
                    <a:lnTo>
                      <a:pt x="238" y="155"/>
                    </a:lnTo>
                    <a:lnTo>
                      <a:pt x="232" y="144"/>
                    </a:lnTo>
                    <a:lnTo>
                      <a:pt x="221" y="129"/>
                    </a:lnTo>
                    <a:lnTo>
                      <a:pt x="208" y="110"/>
                    </a:lnTo>
                    <a:lnTo>
                      <a:pt x="192" y="92"/>
                    </a:lnTo>
                    <a:lnTo>
                      <a:pt x="175" y="76"/>
                    </a:lnTo>
                    <a:lnTo>
                      <a:pt x="166" y="69"/>
                    </a:lnTo>
                    <a:lnTo>
                      <a:pt x="158" y="62"/>
                    </a:lnTo>
                    <a:lnTo>
                      <a:pt x="150" y="58"/>
                    </a:lnTo>
                    <a:lnTo>
                      <a:pt x="142" y="54"/>
                    </a:lnTo>
                    <a:lnTo>
                      <a:pt x="135" y="53"/>
                    </a:lnTo>
                    <a:lnTo>
                      <a:pt x="129" y="53"/>
                    </a:lnTo>
                    <a:lnTo>
                      <a:pt x="129" y="53"/>
                    </a:lnTo>
                    <a:lnTo>
                      <a:pt x="124" y="55"/>
                    </a:lnTo>
                    <a:lnTo>
                      <a:pt x="120" y="57"/>
                    </a:lnTo>
                    <a:lnTo>
                      <a:pt x="111" y="63"/>
                    </a:lnTo>
                    <a:lnTo>
                      <a:pt x="104" y="70"/>
                    </a:lnTo>
                    <a:lnTo>
                      <a:pt x="98" y="75"/>
                    </a:lnTo>
                    <a:lnTo>
                      <a:pt x="98" y="75"/>
                    </a:lnTo>
                    <a:lnTo>
                      <a:pt x="98" y="76"/>
                    </a:lnTo>
                    <a:lnTo>
                      <a:pt x="98" y="76"/>
                    </a:lnTo>
                    <a:lnTo>
                      <a:pt x="94" y="75"/>
                    </a:lnTo>
                    <a:lnTo>
                      <a:pt x="94" y="75"/>
                    </a:lnTo>
                    <a:lnTo>
                      <a:pt x="77" y="71"/>
                    </a:lnTo>
                    <a:lnTo>
                      <a:pt x="53" y="66"/>
                    </a:lnTo>
                    <a:lnTo>
                      <a:pt x="41" y="62"/>
                    </a:lnTo>
                    <a:lnTo>
                      <a:pt x="29" y="58"/>
                    </a:lnTo>
                    <a:lnTo>
                      <a:pt x="18" y="53"/>
                    </a:lnTo>
                    <a:lnTo>
                      <a:pt x="10" y="47"/>
                    </a:lnTo>
                    <a:lnTo>
                      <a:pt x="10" y="47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0" y="38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31"/>
                    </a:lnTo>
                    <a:lnTo>
                      <a:pt x="7" y="24"/>
                    </a:lnTo>
                    <a:lnTo>
                      <a:pt x="18" y="15"/>
                    </a:lnTo>
                    <a:lnTo>
                      <a:pt x="36" y="4"/>
                    </a:lnTo>
                    <a:lnTo>
                      <a:pt x="36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Freeform 21">
                <a:extLst>
                  <a:ext uri="{FF2B5EF4-FFF2-40B4-BE49-F238E27FC236}">
                    <a16:creationId xmlns:a16="http://schemas.microsoft.com/office/drawing/2014/main" id="{D730289D-A81F-4FCF-AC27-49BE40469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915988"/>
                <a:ext cx="293688" cy="307975"/>
              </a:xfrm>
              <a:custGeom>
                <a:avLst/>
                <a:gdLst/>
                <a:ahLst/>
                <a:cxnLst>
                  <a:cxn ang="0">
                    <a:pos x="0" y="97"/>
                  </a:cxn>
                  <a:cxn ang="0">
                    <a:pos x="2" y="78"/>
                  </a:cxn>
                  <a:cxn ang="0">
                    <a:pos x="8" y="59"/>
                  </a:cxn>
                  <a:cxn ang="0">
                    <a:pos x="16" y="42"/>
                  </a:cxn>
                  <a:cxn ang="0">
                    <a:pos x="27" y="28"/>
                  </a:cxn>
                  <a:cxn ang="0">
                    <a:pos x="42" y="16"/>
                  </a:cxn>
                  <a:cxn ang="0">
                    <a:pos x="57" y="8"/>
                  </a:cxn>
                  <a:cxn ang="0">
                    <a:pos x="74" y="2"/>
                  </a:cxn>
                  <a:cxn ang="0">
                    <a:pos x="93" y="0"/>
                  </a:cxn>
                  <a:cxn ang="0">
                    <a:pos x="102" y="0"/>
                  </a:cxn>
                  <a:cxn ang="0">
                    <a:pos x="121" y="4"/>
                  </a:cxn>
                  <a:cxn ang="0">
                    <a:pos x="137" y="12"/>
                  </a:cxn>
                  <a:cxn ang="0">
                    <a:pos x="152" y="22"/>
                  </a:cxn>
                  <a:cxn ang="0">
                    <a:pos x="164" y="35"/>
                  </a:cxn>
                  <a:cxn ang="0">
                    <a:pos x="174" y="50"/>
                  </a:cxn>
                  <a:cxn ang="0">
                    <a:pos x="181" y="68"/>
                  </a:cxn>
                  <a:cxn ang="0">
                    <a:pos x="185" y="87"/>
                  </a:cxn>
                  <a:cxn ang="0">
                    <a:pos x="185" y="97"/>
                  </a:cxn>
                  <a:cxn ang="0">
                    <a:pos x="183" y="115"/>
                  </a:cxn>
                  <a:cxn ang="0">
                    <a:pos x="179" y="132"/>
                  </a:cxn>
                  <a:cxn ang="0">
                    <a:pos x="171" y="149"/>
                  </a:cxn>
                  <a:cxn ang="0">
                    <a:pos x="161" y="163"/>
                  </a:cxn>
                  <a:cxn ang="0">
                    <a:pos x="149" y="174"/>
                  </a:cxn>
                  <a:cxn ang="0">
                    <a:pos x="136" y="183"/>
                  </a:cxn>
                  <a:cxn ang="0">
                    <a:pos x="120" y="190"/>
                  </a:cxn>
                  <a:cxn ang="0">
                    <a:pos x="102" y="194"/>
                  </a:cxn>
                  <a:cxn ang="0">
                    <a:pos x="83" y="194"/>
                  </a:cxn>
                  <a:cxn ang="0">
                    <a:pos x="66" y="190"/>
                  </a:cxn>
                  <a:cxn ang="0">
                    <a:pos x="51" y="183"/>
                  </a:cxn>
                  <a:cxn ang="0">
                    <a:pos x="36" y="174"/>
                  </a:cxn>
                  <a:cxn ang="0">
                    <a:pos x="24" y="163"/>
                  </a:cxn>
                  <a:cxn ang="0">
                    <a:pos x="14" y="149"/>
                  </a:cxn>
                  <a:cxn ang="0">
                    <a:pos x="7" y="132"/>
                  </a:cxn>
                  <a:cxn ang="0">
                    <a:pos x="2" y="115"/>
                  </a:cxn>
                  <a:cxn ang="0">
                    <a:pos x="0" y="97"/>
                  </a:cxn>
                </a:cxnLst>
                <a:rect l="0" t="0" r="r" b="b"/>
                <a:pathLst>
                  <a:path w="185" h="194">
                    <a:moveTo>
                      <a:pt x="0" y="97"/>
                    </a:moveTo>
                    <a:lnTo>
                      <a:pt x="0" y="97"/>
                    </a:lnTo>
                    <a:lnTo>
                      <a:pt x="1" y="87"/>
                    </a:lnTo>
                    <a:lnTo>
                      <a:pt x="2" y="78"/>
                    </a:lnTo>
                    <a:lnTo>
                      <a:pt x="5" y="68"/>
                    </a:lnTo>
                    <a:lnTo>
                      <a:pt x="8" y="59"/>
                    </a:lnTo>
                    <a:lnTo>
                      <a:pt x="11" y="50"/>
                    </a:lnTo>
                    <a:lnTo>
                      <a:pt x="16" y="42"/>
                    </a:lnTo>
                    <a:lnTo>
                      <a:pt x="21" y="35"/>
                    </a:lnTo>
                    <a:lnTo>
                      <a:pt x="27" y="28"/>
                    </a:lnTo>
                    <a:lnTo>
                      <a:pt x="34" y="22"/>
                    </a:lnTo>
                    <a:lnTo>
                      <a:pt x="42" y="16"/>
                    </a:lnTo>
                    <a:lnTo>
                      <a:pt x="49" y="12"/>
                    </a:lnTo>
                    <a:lnTo>
                      <a:pt x="57" y="8"/>
                    </a:lnTo>
                    <a:lnTo>
                      <a:pt x="66" y="4"/>
                    </a:lnTo>
                    <a:lnTo>
                      <a:pt x="74" y="2"/>
                    </a:lnTo>
                    <a:lnTo>
                      <a:pt x="83" y="0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102" y="0"/>
                    </a:lnTo>
                    <a:lnTo>
                      <a:pt x="111" y="2"/>
                    </a:lnTo>
                    <a:lnTo>
                      <a:pt x="121" y="4"/>
                    </a:lnTo>
                    <a:lnTo>
                      <a:pt x="129" y="8"/>
                    </a:lnTo>
                    <a:lnTo>
                      <a:pt x="137" y="12"/>
                    </a:lnTo>
                    <a:lnTo>
                      <a:pt x="145" y="16"/>
                    </a:lnTo>
                    <a:lnTo>
                      <a:pt x="152" y="22"/>
                    </a:lnTo>
                    <a:lnTo>
                      <a:pt x="158" y="28"/>
                    </a:lnTo>
                    <a:lnTo>
                      <a:pt x="164" y="35"/>
                    </a:lnTo>
                    <a:lnTo>
                      <a:pt x="170" y="42"/>
                    </a:lnTo>
                    <a:lnTo>
                      <a:pt x="174" y="50"/>
                    </a:lnTo>
                    <a:lnTo>
                      <a:pt x="178" y="59"/>
                    </a:lnTo>
                    <a:lnTo>
                      <a:pt x="181" y="68"/>
                    </a:lnTo>
                    <a:lnTo>
                      <a:pt x="183" y="78"/>
                    </a:lnTo>
                    <a:lnTo>
                      <a:pt x="185" y="87"/>
                    </a:lnTo>
                    <a:lnTo>
                      <a:pt x="185" y="97"/>
                    </a:lnTo>
                    <a:lnTo>
                      <a:pt x="185" y="97"/>
                    </a:lnTo>
                    <a:lnTo>
                      <a:pt x="185" y="106"/>
                    </a:lnTo>
                    <a:lnTo>
                      <a:pt x="183" y="115"/>
                    </a:lnTo>
                    <a:lnTo>
                      <a:pt x="182" y="124"/>
                    </a:lnTo>
                    <a:lnTo>
                      <a:pt x="179" y="132"/>
                    </a:lnTo>
                    <a:lnTo>
                      <a:pt x="175" y="141"/>
                    </a:lnTo>
                    <a:lnTo>
                      <a:pt x="171" y="149"/>
                    </a:lnTo>
                    <a:lnTo>
                      <a:pt x="167" y="156"/>
                    </a:lnTo>
                    <a:lnTo>
                      <a:pt x="161" y="163"/>
                    </a:lnTo>
                    <a:lnTo>
                      <a:pt x="156" y="169"/>
                    </a:lnTo>
                    <a:lnTo>
                      <a:pt x="149" y="174"/>
                    </a:lnTo>
                    <a:lnTo>
                      <a:pt x="143" y="179"/>
                    </a:lnTo>
                    <a:lnTo>
                      <a:pt x="136" y="183"/>
                    </a:lnTo>
                    <a:lnTo>
                      <a:pt x="128" y="187"/>
                    </a:lnTo>
                    <a:lnTo>
                      <a:pt x="120" y="190"/>
                    </a:lnTo>
                    <a:lnTo>
                      <a:pt x="111" y="192"/>
                    </a:lnTo>
                    <a:lnTo>
                      <a:pt x="102" y="194"/>
                    </a:lnTo>
                    <a:lnTo>
                      <a:pt x="83" y="194"/>
                    </a:lnTo>
                    <a:lnTo>
                      <a:pt x="83" y="194"/>
                    </a:lnTo>
                    <a:lnTo>
                      <a:pt x="75" y="192"/>
                    </a:lnTo>
                    <a:lnTo>
                      <a:pt x="66" y="190"/>
                    </a:lnTo>
                    <a:lnTo>
                      <a:pt x="58" y="187"/>
                    </a:lnTo>
                    <a:lnTo>
                      <a:pt x="51" y="183"/>
                    </a:lnTo>
                    <a:lnTo>
                      <a:pt x="44" y="179"/>
                    </a:lnTo>
                    <a:lnTo>
                      <a:pt x="36" y="174"/>
                    </a:lnTo>
                    <a:lnTo>
                      <a:pt x="30" y="169"/>
                    </a:lnTo>
                    <a:lnTo>
                      <a:pt x="24" y="163"/>
                    </a:lnTo>
                    <a:lnTo>
                      <a:pt x="19" y="156"/>
                    </a:lnTo>
                    <a:lnTo>
                      <a:pt x="14" y="149"/>
                    </a:lnTo>
                    <a:lnTo>
                      <a:pt x="10" y="141"/>
                    </a:lnTo>
                    <a:lnTo>
                      <a:pt x="7" y="132"/>
                    </a:lnTo>
                    <a:lnTo>
                      <a:pt x="4" y="124"/>
                    </a:lnTo>
                    <a:lnTo>
                      <a:pt x="2" y="115"/>
                    </a:lnTo>
                    <a:lnTo>
                      <a:pt x="1" y="106"/>
                    </a:lnTo>
                    <a:lnTo>
                      <a:pt x="0" y="97"/>
                    </a:lnTo>
                    <a:lnTo>
                      <a:pt x="0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Freeform 22">
                <a:extLst>
                  <a:ext uri="{FF2B5EF4-FFF2-40B4-BE49-F238E27FC236}">
                    <a16:creationId xmlns:a16="http://schemas.microsoft.com/office/drawing/2014/main" id="{D12D7F98-C417-4D36-8935-08DC9049F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0738" y="915988"/>
                <a:ext cx="293688" cy="307975"/>
              </a:xfrm>
              <a:custGeom>
                <a:avLst/>
                <a:gdLst/>
                <a:ahLst/>
                <a:cxnLst>
                  <a:cxn ang="0">
                    <a:pos x="0" y="97"/>
                  </a:cxn>
                  <a:cxn ang="0">
                    <a:pos x="2" y="78"/>
                  </a:cxn>
                  <a:cxn ang="0">
                    <a:pos x="7" y="59"/>
                  </a:cxn>
                  <a:cxn ang="0">
                    <a:pos x="16" y="42"/>
                  </a:cxn>
                  <a:cxn ang="0">
                    <a:pos x="27" y="28"/>
                  </a:cxn>
                  <a:cxn ang="0">
                    <a:pos x="40" y="16"/>
                  </a:cxn>
                  <a:cxn ang="0">
                    <a:pos x="56" y="8"/>
                  </a:cxn>
                  <a:cxn ang="0">
                    <a:pos x="74" y="2"/>
                  </a:cxn>
                  <a:cxn ang="0">
                    <a:pos x="92" y="0"/>
                  </a:cxn>
                  <a:cxn ang="0">
                    <a:pos x="102" y="0"/>
                  </a:cxn>
                  <a:cxn ang="0">
                    <a:pos x="120" y="4"/>
                  </a:cxn>
                  <a:cxn ang="0">
                    <a:pos x="137" y="12"/>
                  </a:cxn>
                  <a:cxn ang="0">
                    <a:pos x="152" y="22"/>
                  </a:cxn>
                  <a:cxn ang="0">
                    <a:pos x="164" y="35"/>
                  </a:cxn>
                  <a:cxn ang="0">
                    <a:pos x="174" y="50"/>
                  </a:cxn>
                  <a:cxn ang="0">
                    <a:pos x="181" y="68"/>
                  </a:cxn>
                  <a:cxn ang="0">
                    <a:pos x="184" y="87"/>
                  </a:cxn>
                  <a:cxn ang="0">
                    <a:pos x="185" y="97"/>
                  </a:cxn>
                  <a:cxn ang="0">
                    <a:pos x="183" y="115"/>
                  </a:cxn>
                  <a:cxn ang="0">
                    <a:pos x="178" y="132"/>
                  </a:cxn>
                  <a:cxn ang="0">
                    <a:pos x="171" y="149"/>
                  </a:cxn>
                  <a:cxn ang="0">
                    <a:pos x="161" y="163"/>
                  </a:cxn>
                  <a:cxn ang="0">
                    <a:pos x="149" y="174"/>
                  </a:cxn>
                  <a:cxn ang="0">
                    <a:pos x="135" y="183"/>
                  </a:cxn>
                  <a:cxn ang="0">
                    <a:pos x="119" y="190"/>
                  </a:cxn>
                  <a:cxn ang="0">
                    <a:pos x="102" y="194"/>
                  </a:cxn>
                  <a:cxn ang="0">
                    <a:pos x="83" y="194"/>
                  </a:cxn>
                  <a:cxn ang="0">
                    <a:pos x="66" y="190"/>
                  </a:cxn>
                  <a:cxn ang="0">
                    <a:pos x="50" y="183"/>
                  </a:cxn>
                  <a:cxn ang="0">
                    <a:pos x="36" y="174"/>
                  </a:cxn>
                  <a:cxn ang="0">
                    <a:pos x="24" y="163"/>
                  </a:cxn>
                  <a:cxn ang="0">
                    <a:pos x="14" y="149"/>
                  </a:cxn>
                  <a:cxn ang="0">
                    <a:pos x="6" y="132"/>
                  </a:cxn>
                  <a:cxn ang="0">
                    <a:pos x="2" y="115"/>
                  </a:cxn>
                  <a:cxn ang="0">
                    <a:pos x="0" y="97"/>
                  </a:cxn>
                </a:cxnLst>
                <a:rect l="0" t="0" r="r" b="b"/>
                <a:pathLst>
                  <a:path w="185" h="194">
                    <a:moveTo>
                      <a:pt x="0" y="97"/>
                    </a:moveTo>
                    <a:lnTo>
                      <a:pt x="0" y="97"/>
                    </a:lnTo>
                    <a:lnTo>
                      <a:pt x="1" y="87"/>
                    </a:lnTo>
                    <a:lnTo>
                      <a:pt x="2" y="78"/>
                    </a:lnTo>
                    <a:lnTo>
                      <a:pt x="4" y="68"/>
                    </a:lnTo>
                    <a:lnTo>
                      <a:pt x="7" y="59"/>
                    </a:lnTo>
                    <a:lnTo>
                      <a:pt x="11" y="50"/>
                    </a:lnTo>
                    <a:lnTo>
                      <a:pt x="16" y="42"/>
                    </a:lnTo>
                    <a:lnTo>
                      <a:pt x="21" y="35"/>
                    </a:lnTo>
                    <a:lnTo>
                      <a:pt x="27" y="28"/>
                    </a:lnTo>
                    <a:lnTo>
                      <a:pt x="33" y="22"/>
                    </a:lnTo>
                    <a:lnTo>
                      <a:pt x="40" y="16"/>
                    </a:lnTo>
                    <a:lnTo>
                      <a:pt x="48" y="12"/>
                    </a:lnTo>
                    <a:lnTo>
                      <a:pt x="56" y="8"/>
                    </a:lnTo>
                    <a:lnTo>
                      <a:pt x="65" y="4"/>
                    </a:lnTo>
                    <a:lnTo>
                      <a:pt x="74" y="2"/>
                    </a:lnTo>
                    <a:lnTo>
                      <a:pt x="83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102" y="0"/>
                    </a:lnTo>
                    <a:lnTo>
                      <a:pt x="111" y="2"/>
                    </a:lnTo>
                    <a:lnTo>
                      <a:pt x="120" y="4"/>
                    </a:lnTo>
                    <a:lnTo>
                      <a:pt x="128" y="8"/>
                    </a:lnTo>
                    <a:lnTo>
                      <a:pt x="137" y="12"/>
                    </a:lnTo>
                    <a:lnTo>
                      <a:pt x="144" y="16"/>
                    </a:lnTo>
                    <a:lnTo>
                      <a:pt x="152" y="22"/>
                    </a:lnTo>
                    <a:lnTo>
                      <a:pt x="158" y="28"/>
                    </a:lnTo>
                    <a:lnTo>
                      <a:pt x="164" y="35"/>
                    </a:lnTo>
                    <a:lnTo>
                      <a:pt x="169" y="42"/>
                    </a:lnTo>
                    <a:lnTo>
                      <a:pt x="174" y="50"/>
                    </a:lnTo>
                    <a:lnTo>
                      <a:pt x="178" y="59"/>
                    </a:lnTo>
                    <a:lnTo>
                      <a:pt x="181" y="68"/>
                    </a:lnTo>
                    <a:lnTo>
                      <a:pt x="183" y="78"/>
                    </a:lnTo>
                    <a:lnTo>
                      <a:pt x="184" y="87"/>
                    </a:lnTo>
                    <a:lnTo>
                      <a:pt x="185" y="97"/>
                    </a:lnTo>
                    <a:lnTo>
                      <a:pt x="185" y="97"/>
                    </a:lnTo>
                    <a:lnTo>
                      <a:pt x="184" y="106"/>
                    </a:lnTo>
                    <a:lnTo>
                      <a:pt x="183" y="115"/>
                    </a:lnTo>
                    <a:lnTo>
                      <a:pt x="181" y="124"/>
                    </a:lnTo>
                    <a:lnTo>
                      <a:pt x="178" y="132"/>
                    </a:lnTo>
                    <a:lnTo>
                      <a:pt x="175" y="141"/>
                    </a:lnTo>
                    <a:lnTo>
                      <a:pt x="171" y="149"/>
                    </a:lnTo>
                    <a:lnTo>
                      <a:pt x="166" y="156"/>
                    </a:lnTo>
                    <a:lnTo>
                      <a:pt x="161" y="163"/>
                    </a:lnTo>
                    <a:lnTo>
                      <a:pt x="155" y="169"/>
                    </a:lnTo>
                    <a:lnTo>
                      <a:pt x="149" y="174"/>
                    </a:lnTo>
                    <a:lnTo>
                      <a:pt x="142" y="179"/>
                    </a:lnTo>
                    <a:lnTo>
                      <a:pt x="135" y="183"/>
                    </a:lnTo>
                    <a:lnTo>
                      <a:pt x="127" y="187"/>
                    </a:lnTo>
                    <a:lnTo>
                      <a:pt x="119" y="190"/>
                    </a:lnTo>
                    <a:lnTo>
                      <a:pt x="111" y="192"/>
                    </a:lnTo>
                    <a:lnTo>
                      <a:pt x="102" y="194"/>
                    </a:lnTo>
                    <a:lnTo>
                      <a:pt x="83" y="194"/>
                    </a:lnTo>
                    <a:lnTo>
                      <a:pt x="83" y="194"/>
                    </a:lnTo>
                    <a:lnTo>
                      <a:pt x="74" y="192"/>
                    </a:lnTo>
                    <a:lnTo>
                      <a:pt x="66" y="190"/>
                    </a:lnTo>
                    <a:lnTo>
                      <a:pt x="58" y="187"/>
                    </a:lnTo>
                    <a:lnTo>
                      <a:pt x="50" y="183"/>
                    </a:lnTo>
                    <a:lnTo>
                      <a:pt x="42" y="179"/>
                    </a:lnTo>
                    <a:lnTo>
                      <a:pt x="36" y="174"/>
                    </a:lnTo>
                    <a:lnTo>
                      <a:pt x="29" y="169"/>
                    </a:lnTo>
                    <a:lnTo>
                      <a:pt x="24" y="163"/>
                    </a:lnTo>
                    <a:lnTo>
                      <a:pt x="18" y="156"/>
                    </a:lnTo>
                    <a:lnTo>
                      <a:pt x="14" y="149"/>
                    </a:lnTo>
                    <a:lnTo>
                      <a:pt x="10" y="141"/>
                    </a:lnTo>
                    <a:lnTo>
                      <a:pt x="6" y="132"/>
                    </a:lnTo>
                    <a:lnTo>
                      <a:pt x="4" y="124"/>
                    </a:lnTo>
                    <a:lnTo>
                      <a:pt x="2" y="115"/>
                    </a:lnTo>
                    <a:lnTo>
                      <a:pt x="0" y="106"/>
                    </a:lnTo>
                    <a:lnTo>
                      <a:pt x="0" y="97"/>
                    </a:lnTo>
                    <a:lnTo>
                      <a:pt x="0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1" name="Freeform 23">
                <a:extLst>
                  <a:ext uri="{FF2B5EF4-FFF2-40B4-BE49-F238E27FC236}">
                    <a16:creationId xmlns:a16="http://schemas.microsoft.com/office/drawing/2014/main" id="{487ED318-22DE-40B6-BA1D-37A17E1F1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9888" y="1246188"/>
                <a:ext cx="855663" cy="506413"/>
              </a:xfrm>
              <a:custGeom>
                <a:avLst/>
                <a:gdLst/>
                <a:ahLst/>
                <a:cxnLst>
                  <a:cxn ang="0">
                    <a:pos x="490" y="68"/>
                  </a:cxn>
                  <a:cxn ang="0">
                    <a:pos x="457" y="22"/>
                  </a:cxn>
                  <a:cxn ang="0">
                    <a:pos x="440" y="10"/>
                  </a:cxn>
                  <a:cxn ang="0">
                    <a:pos x="397" y="1"/>
                  </a:cxn>
                  <a:cxn ang="0">
                    <a:pos x="334" y="4"/>
                  </a:cxn>
                  <a:cxn ang="0">
                    <a:pos x="306" y="14"/>
                  </a:cxn>
                  <a:cxn ang="0">
                    <a:pos x="311" y="28"/>
                  </a:cxn>
                  <a:cxn ang="0">
                    <a:pos x="327" y="54"/>
                  </a:cxn>
                  <a:cxn ang="0">
                    <a:pos x="328" y="81"/>
                  </a:cxn>
                  <a:cxn ang="0">
                    <a:pos x="308" y="115"/>
                  </a:cxn>
                  <a:cxn ang="0">
                    <a:pos x="270" y="126"/>
                  </a:cxn>
                  <a:cxn ang="0">
                    <a:pos x="242" y="115"/>
                  </a:cxn>
                  <a:cxn ang="0">
                    <a:pos x="222" y="81"/>
                  </a:cxn>
                  <a:cxn ang="0">
                    <a:pos x="224" y="53"/>
                  </a:cxn>
                  <a:cxn ang="0">
                    <a:pos x="241" y="26"/>
                  </a:cxn>
                  <a:cxn ang="0">
                    <a:pos x="248" y="13"/>
                  </a:cxn>
                  <a:cxn ang="0">
                    <a:pos x="218" y="4"/>
                  </a:cxn>
                  <a:cxn ang="0">
                    <a:pos x="154" y="0"/>
                  </a:cxn>
                  <a:cxn ang="0">
                    <a:pos x="100" y="10"/>
                  </a:cxn>
                  <a:cxn ang="0">
                    <a:pos x="82" y="22"/>
                  </a:cxn>
                  <a:cxn ang="0">
                    <a:pos x="50" y="68"/>
                  </a:cxn>
                  <a:cxn ang="0">
                    <a:pos x="13" y="147"/>
                  </a:cxn>
                  <a:cxn ang="0">
                    <a:pos x="0" y="189"/>
                  </a:cxn>
                  <a:cxn ang="0">
                    <a:pos x="3" y="206"/>
                  </a:cxn>
                  <a:cxn ang="0">
                    <a:pos x="19" y="218"/>
                  </a:cxn>
                  <a:cxn ang="0">
                    <a:pos x="34" y="218"/>
                  </a:cxn>
                  <a:cxn ang="0">
                    <a:pos x="56" y="196"/>
                  </a:cxn>
                  <a:cxn ang="0">
                    <a:pos x="92" y="117"/>
                  </a:cxn>
                  <a:cxn ang="0">
                    <a:pos x="118" y="303"/>
                  </a:cxn>
                  <a:cxn ang="0">
                    <a:pos x="128" y="317"/>
                  </a:cxn>
                  <a:cxn ang="0">
                    <a:pos x="207" y="319"/>
                  </a:cxn>
                  <a:cxn ang="0">
                    <a:pos x="245" y="314"/>
                  </a:cxn>
                  <a:cxn ang="0">
                    <a:pos x="234" y="252"/>
                  </a:cxn>
                  <a:cxn ang="0">
                    <a:pos x="225" y="269"/>
                  </a:cxn>
                  <a:cxn ang="0">
                    <a:pos x="216" y="271"/>
                  </a:cxn>
                  <a:cxn ang="0">
                    <a:pos x="206" y="268"/>
                  </a:cxn>
                  <a:cxn ang="0">
                    <a:pos x="199" y="256"/>
                  </a:cxn>
                  <a:cxn ang="0">
                    <a:pos x="198" y="189"/>
                  </a:cxn>
                  <a:cxn ang="0">
                    <a:pos x="211" y="161"/>
                  </a:cxn>
                  <a:cxn ang="0">
                    <a:pos x="234" y="140"/>
                  </a:cxn>
                  <a:cxn ang="0">
                    <a:pos x="265" y="135"/>
                  </a:cxn>
                  <a:cxn ang="0">
                    <a:pos x="310" y="138"/>
                  </a:cxn>
                  <a:cxn ang="0">
                    <a:pos x="327" y="147"/>
                  </a:cxn>
                  <a:cxn ang="0">
                    <a:pos x="349" y="175"/>
                  </a:cxn>
                  <a:cxn ang="0">
                    <a:pos x="353" y="252"/>
                  </a:cxn>
                  <a:cxn ang="0">
                    <a:pos x="348" y="264"/>
                  </a:cxn>
                  <a:cxn ang="0">
                    <a:pos x="336" y="271"/>
                  </a:cxn>
                  <a:cxn ang="0">
                    <a:pos x="327" y="269"/>
                  </a:cxn>
                  <a:cxn ang="0">
                    <a:pos x="318" y="259"/>
                  </a:cxn>
                  <a:cxn ang="0">
                    <a:pos x="307" y="307"/>
                  </a:cxn>
                  <a:cxn ang="0">
                    <a:pos x="301" y="319"/>
                  </a:cxn>
                  <a:cxn ang="0">
                    <a:pos x="410" y="319"/>
                  </a:cxn>
                  <a:cxn ang="0">
                    <a:pos x="424" y="312"/>
                  </a:cxn>
                  <a:cxn ang="0">
                    <a:pos x="429" y="294"/>
                  </a:cxn>
                  <a:cxn ang="0">
                    <a:pos x="445" y="111"/>
                  </a:cxn>
                  <a:cxn ang="0">
                    <a:pos x="486" y="196"/>
                  </a:cxn>
                  <a:cxn ang="0">
                    <a:pos x="503" y="216"/>
                  </a:cxn>
                  <a:cxn ang="0">
                    <a:pos x="515" y="219"/>
                  </a:cxn>
                  <a:cxn ang="0">
                    <a:pos x="533" y="211"/>
                  </a:cxn>
                  <a:cxn ang="0">
                    <a:pos x="539" y="189"/>
                  </a:cxn>
                  <a:cxn ang="0">
                    <a:pos x="526" y="147"/>
                  </a:cxn>
                </a:cxnLst>
                <a:rect l="0" t="0" r="r" b="b"/>
                <a:pathLst>
                  <a:path w="539" h="319">
                    <a:moveTo>
                      <a:pt x="503" y="92"/>
                    </a:moveTo>
                    <a:lnTo>
                      <a:pt x="503" y="92"/>
                    </a:lnTo>
                    <a:lnTo>
                      <a:pt x="497" y="81"/>
                    </a:lnTo>
                    <a:lnTo>
                      <a:pt x="490" y="68"/>
                    </a:lnTo>
                    <a:lnTo>
                      <a:pt x="483" y="55"/>
                    </a:lnTo>
                    <a:lnTo>
                      <a:pt x="475" y="43"/>
                    </a:lnTo>
                    <a:lnTo>
                      <a:pt x="466" y="32"/>
                    </a:lnTo>
                    <a:lnTo>
                      <a:pt x="457" y="22"/>
                    </a:lnTo>
                    <a:lnTo>
                      <a:pt x="449" y="15"/>
                    </a:lnTo>
                    <a:lnTo>
                      <a:pt x="444" y="12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30" y="7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397" y="1"/>
                    </a:lnTo>
                    <a:lnTo>
                      <a:pt x="376" y="0"/>
                    </a:lnTo>
                    <a:lnTo>
                      <a:pt x="356" y="1"/>
                    </a:lnTo>
                    <a:lnTo>
                      <a:pt x="334" y="4"/>
                    </a:lnTo>
                    <a:lnTo>
                      <a:pt x="334" y="4"/>
                    </a:lnTo>
                    <a:lnTo>
                      <a:pt x="323" y="7"/>
                    </a:lnTo>
                    <a:lnTo>
                      <a:pt x="313" y="10"/>
                    </a:lnTo>
                    <a:lnTo>
                      <a:pt x="313" y="10"/>
                    </a:lnTo>
                    <a:lnTo>
                      <a:pt x="306" y="14"/>
                    </a:lnTo>
                    <a:lnTo>
                      <a:pt x="299" y="19"/>
                    </a:lnTo>
                    <a:lnTo>
                      <a:pt x="299" y="19"/>
                    </a:lnTo>
                    <a:lnTo>
                      <a:pt x="305" y="23"/>
                    </a:lnTo>
                    <a:lnTo>
                      <a:pt x="311" y="28"/>
                    </a:lnTo>
                    <a:lnTo>
                      <a:pt x="316" y="34"/>
                    </a:lnTo>
                    <a:lnTo>
                      <a:pt x="320" y="40"/>
                    </a:lnTo>
                    <a:lnTo>
                      <a:pt x="324" y="46"/>
                    </a:lnTo>
                    <a:lnTo>
                      <a:pt x="327" y="54"/>
                    </a:lnTo>
                    <a:lnTo>
                      <a:pt x="328" y="62"/>
                    </a:lnTo>
                    <a:lnTo>
                      <a:pt x="329" y="70"/>
                    </a:lnTo>
                    <a:lnTo>
                      <a:pt x="329" y="70"/>
                    </a:lnTo>
                    <a:lnTo>
                      <a:pt x="328" y="81"/>
                    </a:lnTo>
                    <a:lnTo>
                      <a:pt x="325" y="91"/>
                    </a:lnTo>
                    <a:lnTo>
                      <a:pt x="321" y="100"/>
                    </a:lnTo>
                    <a:lnTo>
                      <a:pt x="315" y="108"/>
                    </a:lnTo>
                    <a:lnTo>
                      <a:pt x="308" y="115"/>
                    </a:lnTo>
                    <a:lnTo>
                      <a:pt x="300" y="120"/>
                    </a:lnTo>
                    <a:lnTo>
                      <a:pt x="291" y="124"/>
                    </a:lnTo>
                    <a:lnTo>
                      <a:pt x="281" y="126"/>
                    </a:lnTo>
                    <a:lnTo>
                      <a:pt x="270" y="126"/>
                    </a:lnTo>
                    <a:lnTo>
                      <a:pt x="270" y="126"/>
                    </a:lnTo>
                    <a:lnTo>
                      <a:pt x="259" y="124"/>
                    </a:lnTo>
                    <a:lnTo>
                      <a:pt x="250" y="120"/>
                    </a:lnTo>
                    <a:lnTo>
                      <a:pt x="242" y="115"/>
                    </a:lnTo>
                    <a:lnTo>
                      <a:pt x="235" y="108"/>
                    </a:lnTo>
                    <a:lnTo>
                      <a:pt x="229" y="100"/>
                    </a:lnTo>
                    <a:lnTo>
                      <a:pt x="225" y="91"/>
                    </a:lnTo>
                    <a:lnTo>
                      <a:pt x="222" y="81"/>
                    </a:lnTo>
                    <a:lnTo>
                      <a:pt x="221" y="70"/>
                    </a:lnTo>
                    <a:lnTo>
                      <a:pt x="221" y="70"/>
                    </a:lnTo>
                    <a:lnTo>
                      <a:pt x="222" y="61"/>
                    </a:lnTo>
                    <a:lnTo>
                      <a:pt x="224" y="53"/>
                    </a:lnTo>
                    <a:lnTo>
                      <a:pt x="227" y="45"/>
                    </a:lnTo>
                    <a:lnTo>
                      <a:pt x="231" y="38"/>
                    </a:lnTo>
                    <a:lnTo>
                      <a:pt x="235" y="32"/>
                    </a:lnTo>
                    <a:lnTo>
                      <a:pt x="241" y="26"/>
                    </a:lnTo>
                    <a:lnTo>
                      <a:pt x="247" y="22"/>
                    </a:lnTo>
                    <a:lnTo>
                      <a:pt x="254" y="18"/>
                    </a:lnTo>
                    <a:lnTo>
                      <a:pt x="254" y="18"/>
                    </a:lnTo>
                    <a:lnTo>
                      <a:pt x="248" y="13"/>
                    </a:lnTo>
                    <a:lnTo>
                      <a:pt x="241" y="10"/>
                    </a:lnTo>
                    <a:lnTo>
                      <a:pt x="241" y="10"/>
                    </a:lnTo>
                    <a:lnTo>
                      <a:pt x="231" y="7"/>
                    </a:lnTo>
                    <a:lnTo>
                      <a:pt x="218" y="4"/>
                    </a:lnTo>
                    <a:lnTo>
                      <a:pt x="204" y="1"/>
                    </a:lnTo>
                    <a:lnTo>
                      <a:pt x="188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39" y="1"/>
                    </a:lnTo>
                    <a:lnTo>
                      <a:pt x="125" y="4"/>
                    </a:lnTo>
                    <a:lnTo>
                      <a:pt x="111" y="7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96" y="12"/>
                    </a:lnTo>
                    <a:lnTo>
                      <a:pt x="91" y="15"/>
                    </a:lnTo>
                    <a:lnTo>
                      <a:pt x="82" y="22"/>
                    </a:lnTo>
                    <a:lnTo>
                      <a:pt x="74" y="32"/>
                    </a:lnTo>
                    <a:lnTo>
                      <a:pt x="65" y="43"/>
                    </a:lnTo>
                    <a:lnTo>
                      <a:pt x="58" y="55"/>
                    </a:lnTo>
                    <a:lnTo>
                      <a:pt x="50" y="6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25" y="119"/>
                    </a:lnTo>
                    <a:lnTo>
                      <a:pt x="13" y="147"/>
                    </a:lnTo>
                    <a:lnTo>
                      <a:pt x="8" y="160"/>
                    </a:lnTo>
                    <a:lnTo>
                      <a:pt x="3" y="172"/>
                    </a:lnTo>
                    <a:lnTo>
                      <a:pt x="1" y="182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0" y="196"/>
                    </a:lnTo>
                    <a:lnTo>
                      <a:pt x="1" y="201"/>
                    </a:lnTo>
                    <a:lnTo>
                      <a:pt x="3" y="206"/>
                    </a:lnTo>
                    <a:lnTo>
                      <a:pt x="6" y="211"/>
                    </a:lnTo>
                    <a:lnTo>
                      <a:pt x="9" y="214"/>
                    </a:lnTo>
                    <a:lnTo>
                      <a:pt x="13" y="217"/>
                    </a:lnTo>
                    <a:lnTo>
                      <a:pt x="19" y="218"/>
                    </a:lnTo>
                    <a:lnTo>
                      <a:pt x="25" y="219"/>
                    </a:lnTo>
                    <a:lnTo>
                      <a:pt x="25" y="219"/>
                    </a:lnTo>
                    <a:lnTo>
                      <a:pt x="30" y="219"/>
                    </a:lnTo>
                    <a:lnTo>
                      <a:pt x="34" y="218"/>
                    </a:lnTo>
                    <a:lnTo>
                      <a:pt x="38" y="216"/>
                    </a:lnTo>
                    <a:lnTo>
                      <a:pt x="42" y="213"/>
                    </a:lnTo>
                    <a:lnTo>
                      <a:pt x="49" y="206"/>
                    </a:lnTo>
                    <a:lnTo>
                      <a:pt x="56" y="196"/>
                    </a:lnTo>
                    <a:lnTo>
                      <a:pt x="56" y="196"/>
                    </a:lnTo>
                    <a:lnTo>
                      <a:pt x="74" y="157"/>
                    </a:lnTo>
                    <a:lnTo>
                      <a:pt x="87" y="130"/>
                    </a:lnTo>
                    <a:lnTo>
                      <a:pt x="92" y="117"/>
                    </a:lnTo>
                    <a:lnTo>
                      <a:pt x="115" y="294"/>
                    </a:lnTo>
                    <a:lnTo>
                      <a:pt x="115" y="294"/>
                    </a:lnTo>
                    <a:lnTo>
                      <a:pt x="117" y="299"/>
                    </a:lnTo>
                    <a:lnTo>
                      <a:pt x="118" y="303"/>
                    </a:lnTo>
                    <a:lnTo>
                      <a:pt x="119" y="308"/>
                    </a:lnTo>
                    <a:lnTo>
                      <a:pt x="122" y="312"/>
                    </a:lnTo>
                    <a:lnTo>
                      <a:pt x="124" y="315"/>
                    </a:lnTo>
                    <a:lnTo>
                      <a:pt x="128" y="317"/>
                    </a:lnTo>
                    <a:lnTo>
                      <a:pt x="131" y="318"/>
                    </a:lnTo>
                    <a:lnTo>
                      <a:pt x="135" y="319"/>
                    </a:lnTo>
                    <a:lnTo>
                      <a:pt x="171" y="319"/>
                    </a:lnTo>
                    <a:lnTo>
                      <a:pt x="207" y="319"/>
                    </a:lnTo>
                    <a:lnTo>
                      <a:pt x="249" y="319"/>
                    </a:lnTo>
                    <a:lnTo>
                      <a:pt x="249" y="319"/>
                    </a:lnTo>
                    <a:lnTo>
                      <a:pt x="246" y="317"/>
                    </a:lnTo>
                    <a:lnTo>
                      <a:pt x="245" y="314"/>
                    </a:lnTo>
                    <a:lnTo>
                      <a:pt x="243" y="310"/>
                    </a:lnTo>
                    <a:lnTo>
                      <a:pt x="243" y="307"/>
                    </a:lnTo>
                    <a:lnTo>
                      <a:pt x="234" y="252"/>
                    </a:lnTo>
                    <a:lnTo>
                      <a:pt x="234" y="252"/>
                    </a:lnTo>
                    <a:lnTo>
                      <a:pt x="234" y="255"/>
                    </a:lnTo>
                    <a:lnTo>
                      <a:pt x="233" y="259"/>
                    </a:lnTo>
                    <a:lnTo>
                      <a:pt x="230" y="264"/>
                    </a:lnTo>
                    <a:lnTo>
                      <a:pt x="225" y="269"/>
                    </a:lnTo>
                    <a:lnTo>
                      <a:pt x="222" y="270"/>
                    </a:lnTo>
                    <a:lnTo>
                      <a:pt x="218" y="271"/>
                    </a:lnTo>
                    <a:lnTo>
                      <a:pt x="218" y="271"/>
                    </a:lnTo>
                    <a:lnTo>
                      <a:pt x="216" y="271"/>
                    </a:lnTo>
                    <a:lnTo>
                      <a:pt x="216" y="271"/>
                    </a:lnTo>
                    <a:lnTo>
                      <a:pt x="213" y="270"/>
                    </a:lnTo>
                    <a:lnTo>
                      <a:pt x="209" y="269"/>
                    </a:lnTo>
                    <a:lnTo>
                      <a:pt x="206" y="268"/>
                    </a:lnTo>
                    <a:lnTo>
                      <a:pt x="204" y="265"/>
                    </a:lnTo>
                    <a:lnTo>
                      <a:pt x="201" y="262"/>
                    </a:lnTo>
                    <a:lnTo>
                      <a:pt x="200" y="259"/>
                    </a:lnTo>
                    <a:lnTo>
                      <a:pt x="199" y="256"/>
                    </a:lnTo>
                    <a:lnTo>
                      <a:pt x="198" y="252"/>
                    </a:lnTo>
                    <a:lnTo>
                      <a:pt x="198" y="252"/>
                    </a:lnTo>
                    <a:lnTo>
                      <a:pt x="198" y="189"/>
                    </a:lnTo>
                    <a:lnTo>
                      <a:pt x="198" y="189"/>
                    </a:lnTo>
                    <a:lnTo>
                      <a:pt x="199" y="183"/>
                    </a:lnTo>
                    <a:lnTo>
                      <a:pt x="202" y="175"/>
                    </a:lnTo>
                    <a:lnTo>
                      <a:pt x="206" y="168"/>
                    </a:lnTo>
                    <a:lnTo>
                      <a:pt x="211" y="161"/>
                    </a:lnTo>
                    <a:lnTo>
                      <a:pt x="217" y="154"/>
                    </a:lnTo>
                    <a:lnTo>
                      <a:pt x="223" y="147"/>
                    </a:lnTo>
                    <a:lnTo>
                      <a:pt x="229" y="143"/>
                    </a:lnTo>
                    <a:lnTo>
                      <a:pt x="234" y="140"/>
                    </a:lnTo>
                    <a:lnTo>
                      <a:pt x="234" y="140"/>
                    </a:lnTo>
                    <a:lnTo>
                      <a:pt x="240" y="138"/>
                    </a:lnTo>
                    <a:lnTo>
                      <a:pt x="248" y="137"/>
                    </a:lnTo>
                    <a:lnTo>
                      <a:pt x="265" y="135"/>
                    </a:lnTo>
                    <a:lnTo>
                      <a:pt x="285" y="135"/>
                    </a:lnTo>
                    <a:lnTo>
                      <a:pt x="285" y="135"/>
                    </a:lnTo>
                    <a:lnTo>
                      <a:pt x="302" y="137"/>
                    </a:lnTo>
                    <a:lnTo>
                      <a:pt x="310" y="138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22" y="143"/>
                    </a:lnTo>
                    <a:lnTo>
                      <a:pt x="327" y="147"/>
                    </a:lnTo>
                    <a:lnTo>
                      <a:pt x="333" y="154"/>
                    </a:lnTo>
                    <a:lnTo>
                      <a:pt x="339" y="161"/>
                    </a:lnTo>
                    <a:lnTo>
                      <a:pt x="345" y="168"/>
                    </a:lnTo>
                    <a:lnTo>
                      <a:pt x="349" y="175"/>
                    </a:lnTo>
                    <a:lnTo>
                      <a:pt x="352" y="183"/>
                    </a:lnTo>
                    <a:lnTo>
                      <a:pt x="353" y="189"/>
                    </a:lnTo>
                    <a:lnTo>
                      <a:pt x="353" y="189"/>
                    </a:lnTo>
                    <a:lnTo>
                      <a:pt x="353" y="252"/>
                    </a:lnTo>
                    <a:lnTo>
                      <a:pt x="353" y="252"/>
                    </a:lnTo>
                    <a:lnTo>
                      <a:pt x="352" y="255"/>
                    </a:lnTo>
                    <a:lnTo>
                      <a:pt x="352" y="259"/>
                    </a:lnTo>
                    <a:lnTo>
                      <a:pt x="348" y="264"/>
                    </a:lnTo>
                    <a:lnTo>
                      <a:pt x="343" y="269"/>
                    </a:lnTo>
                    <a:lnTo>
                      <a:pt x="339" y="270"/>
                    </a:lnTo>
                    <a:lnTo>
                      <a:pt x="336" y="271"/>
                    </a:lnTo>
                    <a:lnTo>
                      <a:pt x="336" y="271"/>
                    </a:lnTo>
                    <a:lnTo>
                      <a:pt x="334" y="271"/>
                    </a:lnTo>
                    <a:lnTo>
                      <a:pt x="334" y="271"/>
                    </a:lnTo>
                    <a:lnTo>
                      <a:pt x="330" y="270"/>
                    </a:lnTo>
                    <a:lnTo>
                      <a:pt x="327" y="269"/>
                    </a:lnTo>
                    <a:lnTo>
                      <a:pt x="324" y="268"/>
                    </a:lnTo>
                    <a:lnTo>
                      <a:pt x="321" y="265"/>
                    </a:lnTo>
                    <a:lnTo>
                      <a:pt x="319" y="262"/>
                    </a:lnTo>
                    <a:lnTo>
                      <a:pt x="318" y="259"/>
                    </a:lnTo>
                    <a:lnTo>
                      <a:pt x="316" y="256"/>
                    </a:lnTo>
                    <a:lnTo>
                      <a:pt x="316" y="252"/>
                    </a:lnTo>
                    <a:lnTo>
                      <a:pt x="307" y="307"/>
                    </a:lnTo>
                    <a:lnTo>
                      <a:pt x="307" y="307"/>
                    </a:lnTo>
                    <a:lnTo>
                      <a:pt x="307" y="310"/>
                    </a:lnTo>
                    <a:lnTo>
                      <a:pt x="306" y="314"/>
                    </a:lnTo>
                    <a:lnTo>
                      <a:pt x="304" y="317"/>
                    </a:lnTo>
                    <a:lnTo>
                      <a:pt x="301" y="319"/>
                    </a:lnTo>
                    <a:lnTo>
                      <a:pt x="343" y="319"/>
                    </a:lnTo>
                    <a:lnTo>
                      <a:pt x="376" y="319"/>
                    </a:lnTo>
                    <a:lnTo>
                      <a:pt x="410" y="319"/>
                    </a:lnTo>
                    <a:lnTo>
                      <a:pt x="410" y="319"/>
                    </a:lnTo>
                    <a:lnTo>
                      <a:pt x="414" y="318"/>
                    </a:lnTo>
                    <a:lnTo>
                      <a:pt x="418" y="317"/>
                    </a:lnTo>
                    <a:lnTo>
                      <a:pt x="421" y="315"/>
                    </a:lnTo>
                    <a:lnTo>
                      <a:pt x="424" y="312"/>
                    </a:lnTo>
                    <a:lnTo>
                      <a:pt x="426" y="308"/>
                    </a:lnTo>
                    <a:lnTo>
                      <a:pt x="428" y="303"/>
                    </a:lnTo>
                    <a:lnTo>
                      <a:pt x="429" y="299"/>
                    </a:lnTo>
                    <a:lnTo>
                      <a:pt x="429" y="294"/>
                    </a:lnTo>
                    <a:lnTo>
                      <a:pt x="433" y="239"/>
                    </a:lnTo>
                    <a:lnTo>
                      <a:pt x="471" y="239"/>
                    </a:lnTo>
                    <a:lnTo>
                      <a:pt x="447" y="129"/>
                    </a:lnTo>
                    <a:lnTo>
                      <a:pt x="445" y="111"/>
                    </a:lnTo>
                    <a:lnTo>
                      <a:pt x="445" y="111"/>
                    </a:lnTo>
                    <a:lnTo>
                      <a:pt x="451" y="125"/>
                    </a:lnTo>
                    <a:lnTo>
                      <a:pt x="465" y="154"/>
                    </a:lnTo>
                    <a:lnTo>
                      <a:pt x="486" y="196"/>
                    </a:lnTo>
                    <a:lnTo>
                      <a:pt x="486" y="196"/>
                    </a:lnTo>
                    <a:lnTo>
                      <a:pt x="493" y="206"/>
                    </a:lnTo>
                    <a:lnTo>
                      <a:pt x="499" y="213"/>
                    </a:lnTo>
                    <a:lnTo>
                      <a:pt x="503" y="216"/>
                    </a:lnTo>
                    <a:lnTo>
                      <a:pt x="506" y="218"/>
                    </a:lnTo>
                    <a:lnTo>
                      <a:pt x="510" y="219"/>
                    </a:lnTo>
                    <a:lnTo>
                      <a:pt x="515" y="219"/>
                    </a:lnTo>
                    <a:lnTo>
                      <a:pt x="515" y="219"/>
                    </a:lnTo>
                    <a:lnTo>
                      <a:pt x="521" y="218"/>
                    </a:lnTo>
                    <a:lnTo>
                      <a:pt x="526" y="217"/>
                    </a:lnTo>
                    <a:lnTo>
                      <a:pt x="530" y="214"/>
                    </a:lnTo>
                    <a:lnTo>
                      <a:pt x="533" y="211"/>
                    </a:lnTo>
                    <a:lnTo>
                      <a:pt x="535" y="206"/>
                    </a:lnTo>
                    <a:lnTo>
                      <a:pt x="537" y="201"/>
                    </a:lnTo>
                    <a:lnTo>
                      <a:pt x="538" y="196"/>
                    </a:lnTo>
                    <a:lnTo>
                      <a:pt x="539" y="189"/>
                    </a:lnTo>
                    <a:lnTo>
                      <a:pt x="539" y="189"/>
                    </a:lnTo>
                    <a:lnTo>
                      <a:pt x="538" y="182"/>
                    </a:lnTo>
                    <a:lnTo>
                      <a:pt x="535" y="172"/>
                    </a:lnTo>
                    <a:lnTo>
                      <a:pt x="526" y="147"/>
                    </a:lnTo>
                    <a:lnTo>
                      <a:pt x="515" y="119"/>
                    </a:lnTo>
                    <a:lnTo>
                      <a:pt x="503" y="92"/>
                    </a:lnTo>
                    <a:lnTo>
                      <a:pt x="503" y="9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92" name="TextBox 291">
            <a:extLst>
              <a:ext uri="{FF2B5EF4-FFF2-40B4-BE49-F238E27FC236}">
                <a16:creationId xmlns:a16="http://schemas.microsoft.com/office/drawing/2014/main" id="{594C0A41-4855-41E8-8A8F-15677C4F952F}"/>
              </a:ext>
            </a:extLst>
          </p:cNvPr>
          <p:cNvSpPr txBox="1"/>
          <p:nvPr/>
        </p:nvSpPr>
        <p:spPr>
          <a:xfrm>
            <a:off x="3952225" y="5427038"/>
            <a:ext cx="21846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200" b="1">
                <a:solidFill>
                  <a:schemeClr val="tx1"/>
                </a:solidFill>
              </a:rPr>
              <a:t>Prefer promotions and good deals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21EFD21E-47A2-419D-8F42-FFEDC86363A9}"/>
              </a:ext>
            </a:extLst>
          </p:cNvPr>
          <p:cNvSpPr/>
          <p:nvPr/>
        </p:nvSpPr>
        <p:spPr>
          <a:xfrm>
            <a:off x="6307243" y="1139812"/>
            <a:ext cx="5507130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pecial love for dry red wine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iddle age married couples living with teenage children and sometimes kids in the family </a:t>
            </a:r>
          </a:p>
          <a:p>
            <a:pPr marL="136525" indent="-136525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phisticated with high level of education</a:t>
            </a:r>
          </a:p>
          <a:p>
            <a:pPr marL="136525" indent="-136525"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ybe currently saving for children future (buying with promotion deals)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E7C3F19E-55F7-407A-910B-ACA73D458CCB}"/>
              </a:ext>
            </a:extLst>
          </p:cNvPr>
          <p:cNvSpPr/>
          <p:nvPr/>
        </p:nvSpPr>
        <p:spPr>
          <a:xfrm>
            <a:off x="6392703" y="1036684"/>
            <a:ext cx="1268013" cy="23072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Profile Analysis</a:t>
            </a:r>
          </a:p>
        </p:txBody>
      </p:sp>
      <p:sp>
        <p:nvSpPr>
          <p:cNvPr id="5" name="Graphic 225" descr="Bottle">
            <a:extLst>
              <a:ext uri="{FF2B5EF4-FFF2-40B4-BE49-F238E27FC236}">
                <a16:creationId xmlns:a16="http://schemas.microsoft.com/office/drawing/2014/main" id="{E640A599-7AD2-43F6-B373-1E767EA8B327}"/>
              </a:ext>
            </a:extLst>
          </p:cNvPr>
          <p:cNvSpPr/>
          <p:nvPr/>
        </p:nvSpPr>
        <p:spPr>
          <a:xfrm>
            <a:off x="4413481" y="1955083"/>
            <a:ext cx="66684" cy="225702"/>
          </a:xfrm>
          <a:custGeom>
            <a:avLst/>
            <a:gdLst>
              <a:gd name="connsiteX0" fmla="*/ 50270 w 66684"/>
              <a:gd name="connsiteY0" fmla="*/ 65146 h 225702"/>
              <a:gd name="connsiteX1" fmla="*/ 47192 w 66684"/>
              <a:gd name="connsiteY1" fmla="*/ 12824 h 225702"/>
              <a:gd name="connsiteX2" fmla="*/ 51296 w 66684"/>
              <a:gd name="connsiteY2" fmla="*/ 12824 h 225702"/>
              <a:gd name="connsiteX3" fmla="*/ 51296 w 66684"/>
              <a:gd name="connsiteY3" fmla="*/ 10259 h 225702"/>
              <a:gd name="connsiteX4" fmla="*/ 44115 w 66684"/>
              <a:gd name="connsiteY4" fmla="*/ 513 h 225702"/>
              <a:gd name="connsiteX5" fmla="*/ 42319 w 66684"/>
              <a:gd name="connsiteY5" fmla="*/ 0 h 225702"/>
              <a:gd name="connsiteX6" fmla="*/ 41037 w 66684"/>
              <a:gd name="connsiteY6" fmla="*/ 0 h 225702"/>
              <a:gd name="connsiteX7" fmla="*/ 25648 w 66684"/>
              <a:gd name="connsiteY7" fmla="*/ 0 h 225702"/>
              <a:gd name="connsiteX8" fmla="*/ 24366 w 66684"/>
              <a:gd name="connsiteY8" fmla="*/ 0 h 225702"/>
              <a:gd name="connsiteX9" fmla="*/ 22570 w 66684"/>
              <a:gd name="connsiteY9" fmla="*/ 513 h 225702"/>
              <a:gd name="connsiteX10" fmla="*/ 15389 w 66684"/>
              <a:gd name="connsiteY10" fmla="*/ 10259 h 225702"/>
              <a:gd name="connsiteX11" fmla="*/ 15389 w 66684"/>
              <a:gd name="connsiteY11" fmla="*/ 12824 h 225702"/>
              <a:gd name="connsiteX12" fmla="*/ 19492 w 66684"/>
              <a:gd name="connsiteY12" fmla="*/ 12824 h 225702"/>
              <a:gd name="connsiteX13" fmla="*/ 16415 w 66684"/>
              <a:gd name="connsiteY13" fmla="*/ 65146 h 225702"/>
              <a:gd name="connsiteX14" fmla="*/ 0 w 66684"/>
              <a:gd name="connsiteY14" fmla="*/ 92333 h 225702"/>
              <a:gd name="connsiteX15" fmla="*/ 0 w 66684"/>
              <a:gd name="connsiteY15" fmla="*/ 215443 h 225702"/>
              <a:gd name="connsiteX16" fmla="*/ 33342 w 66684"/>
              <a:gd name="connsiteY16" fmla="*/ 225703 h 225702"/>
              <a:gd name="connsiteX17" fmla="*/ 66685 w 66684"/>
              <a:gd name="connsiteY17" fmla="*/ 215443 h 225702"/>
              <a:gd name="connsiteX18" fmla="*/ 66685 w 66684"/>
              <a:gd name="connsiteY18" fmla="*/ 92333 h 225702"/>
              <a:gd name="connsiteX19" fmla="*/ 50270 w 66684"/>
              <a:gd name="connsiteY19" fmla="*/ 65146 h 225702"/>
              <a:gd name="connsiteX20" fmla="*/ 56426 w 66684"/>
              <a:gd name="connsiteY20" fmla="*/ 212109 h 225702"/>
              <a:gd name="connsiteX21" fmla="*/ 33342 w 66684"/>
              <a:gd name="connsiteY21" fmla="*/ 215443 h 225702"/>
              <a:gd name="connsiteX22" fmla="*/ 10259 w 66684"/>
              <a:gd name="connsiteY22" fmla="*/ 212109 h 225702"/>
              <a:gd name="connsiteX23" fmla="*/ 10259 w 66684"/>
              <a:gd name="connsiteY23" fmla="*/ 169277 h 225702"/>
              <a:gd name="connsiteX24" fmla="*/ 17697 w 66684"/>
              <a:gd name="connsiteY24" fmla="*/ 169277 h 225702"/>
              <a:gd name="connsiteX25" fmla="*/ 33342 w 66684"/>
              <a:gd name="connsiteY25" fmla="*/ 182101 h 225702"/>
              <a:gd name="connsiteX26" fmla="*/ 48988 w 66684"/>
              <a:gd name="connsiteY26" fmla="*/ 169277 h 225702"/>
              <a:gd name="connsiteX27" fmla="*/ 56426 w 66684"/>
              <a:gd name="connsiteY27" fmla="*/ 169277 h 225702"/>
              <a:gd name="connsiteX28" fmla="*/ 56426 w 66684"/>
              <a:gd name="connsiteY28" fmla="*/ 212109 h 225702"/>
              <a:gd name="connsiteX29" fmla="*/ 56426 w 66684"/>
              <a:gd name="connsiteY29" fmla="*/ 123111 h 225702"/>
              <a:gd name="connsiteX30" fmla="*/ 48988 w 66684"/>
              <a:gd name="connsiteY30" fmla="*/ 123111 h 225702"/>
              <a:gd name="connsiteX31" fmla="*/ 33342 w 66684"/>
              <a:gd name="connsiteY31" fmla="*/ 110286 h 225702"/>
              <a:gd name="connsiteX32" fmla="*/ 17697 w 66684"/>
              <a:gd name="connsiteY32" fmla="*/ 123111 h 225702"/>
              <a:gd name="connsiteX33" fmla="*/ 10259 w 66684"/>
              <a:gd name="connsiteY33" fmla="*/ 123111 h 225702"/>
              <a:gd name="connsiteX34" fmla="*/ 10259 w 66684"/>
              <a:gd name="connsiteY34" fmla="*/ 92333 h 225702"/>
              <a:gd name="connsiteX35" fmla="*/ 21288 w 66684"/>
              <a:gd name="connsiteY35" fmla="*/ 74123 h 225702"/>
              <a:gd name="connsiteX36" fmla="*/ 26417 w 66684"/>
              <a:gd name="connsiteY36" fmla="*/ 71301 h 225702"/>
              <a:gd name="connsiteX37" fmla="*/ 26674 w 66684"/>
              <a:gd name="connsiteY37" fmla="*/ 65402 h 225702"/>
              <a:gd name="connsiteX38" fmla="*/ 28726 w 66684"/>
              <a:gd name="connsiteY38" fmla="*/ 30778 h 225702"/>
              <a:gd name="connsiteX39" fmla="*/ 37959 w 66684"/>
              <a:gd name="connsiteY39" fmla="*/ 30778 h 225702"/>
              <a:gd name="connsiteX40" fmla="*/ 40011 w 66684"/>
              <a:gd name="connsiteY40" fmla="*/ 65659 h 225702"/>
              <a:gd name="connsiteX41" fmla="*/ 40267 w 66684"/>
              <a:gd name="connsiteY41" fmla="*/ 71558 h 225702"/>
              <a:gd name="connsiteX42" fmla="*/ 45397 w 66684"/>
              <a:gd name="connsiteY42" fmla="*/ 74379 h 225702"/>
              <a:gd name="connsiteX43" fmla="*/ 56426 w 66684"/>
              <a:gd name="connsiteY43" fmla="*/ 92333 h 225702"/>
              <a:gd name="connsiteX44" fmla="*/ 56426 w 66684"/>
              <a:gd name="connsiteY44" fmla="*/ 123111 h 2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6684" h="225702">
                <a:moveTo>
                  <a:pt x="50270" y="65146"/>
                </a:moveTo>
                <a:lnTo>
                  <a:pt x="47192" y="12824"/>
                </a:lnTo>
                <a:lnTo>
                  <a:pt x="51296" y="12824"/>
                </a:lnTo>
                <a:lnTo>
                  <a:pt x="51296" y="10259"/>
                </a:lnTo>
                <a:cubicBezTo>
                  <a:pt x="51296" y="5643"/>
                  <a:pt x="48218" y="1795"/>
                  <a:pt x="44115" y="513"/>
                </a:cubicBezTo>
                <a:cubicBezTo>
                  <a:pt x="43602" y="256"/>
                  <a:pt x="43089" y="0"/>
                  <a:pt x="42319" y="0"/>
                </a:cubicBezTo>
                <a:lnTo>
                  <a:pt x="41037" y="0"/>
                </a:lnTo>
                <a:lnTo>
                  <a:pt x="25648" y="0"/>
                </a:lnTo>
                <a:lnTo>
                  <a:pt x="24366" y="0"/>
                </a:lnTo>
                <a:cubicBezTo>
                  <a:pt x="23596" y="0"/>
                  <a:pt x="23083" y="256"/>
                  <a:pt x="22570" y="513"/>
                </a:cubicBezTo>
                <a:cubicBezTo>
                  <a:pt x="18467" y="1795"/>
                  <a:pt x="15389" y="5643"/>
                  <a:pt x="15389" y="10259"/>
                </a:cubicBezTo>
                <a:lnTo>
                  <a:pt x="15389" y="12824"/>
                </a:lnTo>
                <a:lnTo>
                  <a:pt x="19492" y="12824"/>
                </a:lnTo>
                <a:lnTo>
                  <a:pt x="16415" y="65146"/>
                </a:lnTo>
                <a:cubicBezTo>
                  <a:pt x="6668" y="70276"/>
                  <a:pt x="0" y="80535"/>
                  <a:pt x="0" y="92333"/>
                </a:cubicBezTo>
                <a:lnTo>
                  <a:pt x="0" y="215443"/>
                </a:lnTo>
                <a:cubicBezTo>
                  <a:pt x="0" y="221086"/>
                  <a:pt x="14876" y="225703"/>
                  <a:pt x="33342" y="225703"/>
                </a:cubicBezTo>
                <a:cubicBezTo>
                  <a:pt x="51809" y="225703"/>
                  <a:pt x="66685" y="221086"/>
                  <a:pt x="66685" y="215443"/>
                </a:cubicBezTo>
                <a:lnTo>
                  <a:pt x="66685" y="92333"/>
                </a:lnTo>
                <a:cubicBezTo>
                  <a:pt x="66685" y="80535"/>
                  <a:pt x="60016" y="70276"/>
                  <a:pt x="50270" y="65146"/>
                </a:cubicBezTo>
                <a:close/>
                <a:moveTo>
                  <a:pt x="56426" y="212109"/>
                </a:moveTo>
                <a:cubicBezTo>
                  <a:pt x="52835" y="213648"/>
                  <a:pt x="44628" y="215443"/>
                  <a:pt x="33342" y="215443"/>
                </a:cubicBezTo>
                <a:cubicBezTo>
                  <a:pt x="22057" y="215443"/>
                  <a:pt x="13850" y="213648"/>
                  <a:pt x="10259" y="212109"/>
                </a:cubicBezTo>
                <a:lnTo>
                  <a:pt x="10259" y="169277"/>
                </a:lnTo>
                <a:lnTo>
                  <a:pt x="17697" y="169277"/>
                </a:lnTo>
                <a:cubicBezTo>
                  <a:pt x="21544" y="177228"/>
                  <a:pt x="27187" y="182101"/>
                  <a:pt x="33342" y="182101"/>
                </a:cubicBezTo>
                <a:cubicBezTo>
                  <a:pt x="39498" y="182101"/>
                  <a:pt x="45397" y="177228"/>
                  <a:pt x="48988" y="169277"/>
                </a:cubicBezTo>
                <a:lnTo>
                  <a:pt x="56426" y="169277"/>
                </a:lnTo>
                <a:lnTo>
                  <a:pt x="56426" y="212109"/>
                </a:lnTo>
                <a:close/>
                <a:moveTo>
                  <a:pt x="56426" y="123111"/>
                </a:moveTo>
                <a:lnTo>
                  <a:pt x="48988" y="123111"/>
                </a:lnTo>
                <a:cubicBezTo>
                  <a:pt x="45141" y="115160"/>
                  <a:pt x="39498" y="110286"/>
                  <a:pt x="33342" y="110286"/>
                </a:cubicBezTo>
                <a:cubicBezTo>
                  <a:pt x="27187" y="110286"/>
                  <a:pt x="21288" y="115160"/>
                  <a:pt x="17697" y="123111"/>
                </a:cubicBezTo>
                <a:lnTo>
                  <a:pt x="10259" y="123111"/>
                </a:lnTo>
                <a:lnTo>
                  <a:pt x="10259" y="92333"/>
                </a:lnTo>
                <a:cubicBezTo>
                  <a:pt x="10259" y="84638"/>
                  <a:pt x="14363" y="77714"/>
                  <a:pt x="21288" y="74123"/>
                </a:cubicBezTo>
                <a:lnTo>
                  <a:pt x="26417" y="71301"/>
                </a:lnTo>
                <a:lnTo>
                  <a:pt x="26674" y="65402"/>
                </a:lnTo>
                <a:lnTo>
                  <a:pt x="28726" y="30778"/>
                </a:lnTo>
                <a:lnTo>
                  <a:pt x="37959" y="30778"/>
                </a:lnTo>
                <a:lnTo>
                  <a:pt x="40011" y="65659"/>
                </a:lnTo>
                <a:lnTo>
                  <a:pt x="40267" y="71558"/>
                </a:lnTo>
                <a:lnTo>
                  <a:pt x="45397" y="74379"/>
                </a:lnTo>
                <a:cubicBezTo>
                  <a:pt x="52322" y="77714"/>
                  <a:pt x="56426" y="84638"/>
                  <a:pt x="56426" y="92333"/>
                </a:cubicBezTo>
                <a:lnTo>
                  <a:pt x="56426" y="123111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6000">
                <a:schemeClr val="tx2"/>
              </a:gs>
              <a:gs pos="59000">
                <a:schemeClr val="accent4"/>
              </a:gs>
            </a:gsLst>
            <a:lin ang="0" scaled="0"/>
            <a:tileRect/>
          </a:gradFill>
          <a:ln w="24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3" name="Graphic 225" descr="Bottle">
            <a:extLst>
              <a:ext uri="{FF2B5EF4-FFF2-40B4-BE49-F238E27FC236}">
                <a16:creationId xmlns:a16="http://schemas.microsoft.com/office/drawing/2014/main" id="{2D0880A8-3DD3-4215-B7F4-EA467E5EE15F}"/>
              </a:ext>
            </a:extLst>
          </p:cNvPr>
          <p:cNvSpPr/>
          <p:nvPr/>
        </p:nvSpPr>
        <p:spPr>
          <a:xfrm>
            <a:off x="4413481" y="2335043"/>
            <a:ext cx="66684" cy="225702"/>
          </a:xfrm>
          <a:custGeom>
            <a:avLst/>
            <a:gdLst>
              <a:gd name="connsiteX0" fmla="*/ 50270 w 66684"/>
              <a:gd name="connsiteY0" fmla="*/ 65146 h 225702"/>
              <a:gd name="connsiteX1" fmla="*/ 47192 w 66684"/>
              <a:gd name="connsiteY1" fmla="*/ 12824 h 225702"/>
              <a:gd name="connsiteX2" fmla="*/ 51296 w 66684"/>
              <a:gd name="connsiteY2" fmla="*/ 12824 h 225702"/>
              <a:gd name="connsiteX3" fmla="*/ 51296 w 66684"/>
              <a:gd name="connsiteY3" fmla="*/ 10259 h 225702"/>
              <a:gd name="connsiteX4" fmla="*/ 44115 w 66684"/>
              <a:gd name="connsiteY4" fmla="*/ 513 h 225702"/>
              <a:gd name="connsiteX5" fmla="*/ 42319 w 66684"/>
              <a:gd name="connsiteY5" fmla="*/ 0 h 225702"/>
              <a:gd name="connsiteX6" fmla="*/ 41037 w 66684"/>
              <a:gd name="connsiteY6" fmla="*/ 0 h 225702"/>
              <a:gd name="connsiteX7" fmla="*/ 25648 w 66684"/>
              <a:gd name="connsiteY7" fmla="*/ 0 h 225702"/>
              <a:gd name="connsiteX8" fmla="*/ 24366 w 66684"/>
              <a:gd name="connsiteY8" fmla="*/ 0 h 225702"/>
              <a:gd name="connsiteX9" fmla="*/ 22570 w 66684"/>
              <a:gd name="connsiteY9" fmla="*/ 513 h 225702"/>
              <a:gd name="connsiteX10" fmla="*/ 15389 w 66684"/>
              <a:gd name="connsiteY10" fmla="*/ 10259 h 225702"/>
              <a:gd name="connsiteX11" fmla="*/ 15389 w 66684"/>
              <a:gd name="connsiteY11" fmla="*/ 12824 h 225702"/>
              <a:gd name="connsiteX12" fmla="*/ 19492 w 66684"/>
              <a:gd name="connsiteY12" fmla="*/ 12824 h 225702"/>
              <a:gd name="connsiteX13" fmla="*/ 16415 w 66684"/>
              <a:gd name="connsiteY13" fmla="*/ 65146 h 225702"/>
              <a:gd name="connsiteX14" fmla="*/ 0 w 66684"/>
              <a:gd name="connsiteY14" fmla="*/ 92333 h 225702"/>
              <a:gd name="connsiteX15" fmla="*/ 0 w 66684"/>
              <a:gd name="connsiteY15" fmla="*/ 215443 h 225702"/>
              <a:gd name="connsiteX16" fmla="*/ 33342 w 66684"/>
              <a:gd name="connsiteY16" fmla="*/ 225703 h 225702"/>
              <a:gd name="connsiteX17" fmla="*/ 66685 w 66684"/>
              <a:gd name="connsiteY17" fmla="*/ 215443 h 225702"/>
              <a:gd name="connsiteX18" fmla="*/ 66685 w 66684"/>
              <a:gd name="connsiteY18" fmla="*/ 92333 h 225702"/>
              <a:gd name="connsiteX19" fmla="*/ 50270 w 66684"/>
              <a:gd name="connsiteY19" fmla="*/ 65146 h 225702"/>
              <a:gd name="connsiteX20" fmla="*/ 56426 w 66684"/>
              <a:gd name="connsiteY20" fmla="*/ 212109 h 225702"/>
              <a:gd name="connsiteX21" fmla="*/ 33342 w 66684"/>
              <a:gd name="connsiteY21" fmla="*/ 215443 h 225702"/>
              <a:gd name="connsiteX22" fmla="*/ 10259 w 66684"/>
              <a:gd name="connsiteY22" fmla="*/ 212109 h 225702"/>
              <a:gd name="connsiteX23" fmla="*/ 10259 w 66684"/>
              <a:gd name="connsiteY23" fmla="*/ 169277 h 225702"/>
              <a:gd name="connsiteX24" fmla="*/ 17697 w 66684"/>
              <a:gd name="connsiteY24" fmla="*/ 169277 h 225702"/>
              <a:gd name="connsiteX25" fmla="*/ 33342 w 66684"/>
              <a:gd name="connsiteY25" fmla="*/ 182101 h 225702"/>
              <a:gd name="connsiteX26" fmla="*/ 48988 w 66684"/>
              <a:gd name="connsiteY26" fmla="*/ 169277 h 225702"/>
              <a:gd name="connsiteX27" fmla="*/ 56426 w 66684"/>
              <a:gd name="connsiteY27" fmla="*/ 169277 h 225702"/>
              <a:gd name="connsiteX28" fmla="*/ 56426 w 66684"/>
              <a:gd name="connsiteY28" fmla="*/ 212109 h 225702"/>
              <a:gd name="connsiteX29" fmla="*/ 56426 w 66684"/>
              <a:gd name="connsiteY29" fmla="*/ 123111 h 225702"/>
              <a:gd name="connsiteX30" fmla="*/ 48988 w 66684"/>
              <a:gd name="connsiteY30" fmla="*/ 123111 h 225702"/>
              <a:gd name="connsiteX31" fmla="*/ 33342 w 66684"/>
              <a:gd name="connsiteY31" fmla="*/ 110286 h 225702"/>
              <a:gd name="connsiteX32" fmla="*/ 17697 w 66684"/>
              <a:gd name="connsiteY32" fmla="*/ 123111 h 225702"/>
              <a:gd name="connsiteX33" fmla="*/ 10259 w 66684"/>
              <a:gd name="connsiteY33" fmla="*/ 123111 h 225702"/>
              <a:gd name="connsiteX34" fmla="*/ 10259 w 66684"/>
              <a:gd name="connsiteY34" fmla="*/ 92333 h 225702"/>
              <a:gd name="connsiteX35" fmla="*/ 21288 w 66684"/>
              <a:gd name="connsiteY35" fmla="*/ 74123 h 225702"/>
              <a:gd name="connsiteX36" fmla="*/ 26417 w 66684"/>
              <a:gd name="connsiteY36" fmla="*/ 71301 h 225702"/>
              <a:gd name="connsiteX37" fmla="*/ 26674 w 66684"/>
              <a:gd name="connsiteY37" fmla="*/ 65402 h 225702"/>
              <a:gd name="connsiteX38" fmla="*/ 28726 w 66684"/>
              <a:gd name="connsiteY38" fmla="*/ 30778 h 225702"/>
              <a:gd name="connsiteX39" fmla="*/ 37959 w 66684"/>
              <a:gd name="connsiteY39" fmla="*/ 30778 h 225702"/>
              <a:gd name="connsiteX40" fmla="*/ 40011 w 66684"/>
              <a:gd name="connsiteY40" fmla="*/ 65659 h 225702"/>
              <a:gd name="connsiteX41" fmla="*/ 40267 w 66684"/>
              <a:gd name="connsiteY41" fmla="*/ 71558 h 225702"/>
              <a:gd name="connsiteX42" fmla="*/ 45397 w 66684"/>
              <a:gd name="connsiteY42" fmla="*/ 74379 h 225702"/>
              <a:gd name="connsiteX43" fmla="*/ 56426 w 66684"/>
              <a:gd name="connsiteY43" fmla="*/ 92333 h 225702"/>
              <a:gd name="connsiteX44" fmla="*/ 56426 w 66684"/>
              <a:gd name="connsiteY44" fmla="*/ 123111 h 2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6684" h="225702">
                <a:moveTo>
                  <a:pt x="50270" y="65146"/>
                </a:moveTo>
                <a:lnTo>
                  <a:pt x="47192" y="12824"/>
                </a:lnTo>
                <a:lnTo>
                  <a:pt x="51296" y="12824"/>
                </a:lnTo>
                <a:lnTo>
                  <a:pt x="51296" y="10259"/>
                </a:lnTo>
                <a:cubicBezTo>
                  <a:pt x="51296" y="5643"/>
                  <a:pt x="48218" y="1795"/>
                  <a:pt x="44115" y="513"/>
                </a:cubicBezTo>
                <a:cubicBezTo>
                  <a:pt x="43602" y="256"/>
                  <a:pt x="43089" y="0"/>
                  <a:pt x="42319" y="0"/>
                </a:cubicBezTo>
                <a:lnTo>
                  <a:pt x="41037" y="0"/>
                </a:lnTo>
                <a:lnTo>
                  <a:pt x="25648" y="0"/>
                </a:lnTo>
                <a:lnTo>
                  <a:pt x="24366" y="0"/>
                </a:lnTo>
                <a:cubicBezTo>
                  <a:pt x="23596" y="0"/>
                  <a:pt x="23083" y="256"/>
                  <a:pt x="22570" y="513"/>
                </a:cubicBezTo>
                <a:cubicBezTo>
                  <a:pt x="18467" y="1795"/>
                  <a:pt x="15389" y="5643"/>
                  <a:pt x="15389" y="10259"/>
                </a:cubicBezTo>
                <a:lnTo>
                  <a:pt x="15389" y="12824"/>
                </a:lnTo>
                <a:lnTo>
                  <a:pt x="19492" y="12824"/>
                </a:lnTo>
                <a:lnTo>
                  <a:pt x="16415" y="65146"/>
                </a:lnTo>
                <a:cubicBezTo>
                  <a:pt x="6668" y="70276"/>
                  <a:pt x="0" y="80535"/>
                  <a:pt x="0" y="92333"/>
                </a:cubicBezTo>
                <a:lnTo>
                  <a:pt x="0" y="215443"/>
                </a:lnTo>
                <a:cubicBezTo>
                  <a:pt x="0" y="221086"/>
                  <a:pt x="14876" y="225703"/>
                  <a:pt x="33342" y="225703"/>
                </a:cubicBezTo>
                <a:cubicBezTo>
                  <a:pt x="51809" y="225703"/>
                  <a:pt x="66685" y="221086"/>
                  <a:pt x="66685" y="215443"/>
                </a:cubicBezTo>
                <a:lnTo>
                  <a:pt x="66685" y="92333"/>
                </a:lnTo>
                <a:cubicBezTo>
                  <a:pt x="66685" y="80535"/>
                  <a:pt x="60016" y="70276"/>
                  <a:pt x="50270" y="65146"/>
                </a:cubicBezTo>
                <a:close/>
                <a:moveTo>
                  <a:pt x="56426" y="212109"/>
                </a:moveTo>
                <a:cubicBezTo>
                  <a:pt x="52835" y="213648"/>
                  <a:pt x="44628" y="215443"/>
                  <a:pt x="33342" y="215443"/>
                </a:cubicBezTo>
                <a:cubicBezTo>
                  <a:pt x="22057" y="215443"/>
                  <a:pt x="13850" y="213648"/>
                  <a:pt x="10259" y="212109"/>
                </a:cubicBezTo>
                <a:lnTo>
                  <a:pt x="10259" y="169277"/>
                </a:lnTo>
                <a:lnTo>
                  <a:pt x="17697" y="169277"/>
                </a:lnTo>
                <a:cubicBezTo>
                  <a:pt x="21544" y="177228"/>
                  <a:pt x="27187" y="182101"/>
                  <a:pt x="33342" y="182101"/>
                </a:cubicBezTo>
                <a:cubicBezTo>
                  <a:pt x="39498" y="182101"/>
                  <a:pt x="45397" y="177228"/>
                  <a:pt x="48988" y="169277"/>
                </a:cubicBezTo>
                <a:lnTo>
                  <a:pt x="56426" y="169277"/>
                </a:lnTo>
                <a:lnTo>
                  <a:pt x="56426" y="212109"/>
                </a:lnTo>
                <a:close/>
                <a:moveTo>
                  <a:pt x="56426" y="123111"/>
                </a:moveTo>
                <a:lnTo>
                  <a:pt x="48988" y="123111"/>
                </a:lnTo>
                <a:cubicBezTo>
                  <a:pt x="45141" y="115160"/>
                  <a:pt x="39498" y="110286"/>
                  <a:pt x="33342" y="110286"/>
                </a:cubicBezTo>
                <a:cubicBezTo>
                  <a:pt x="27187" y="110286"/>
                  <a:pt x="21288" y="115160"/>
                  <a:pt x="17697" y="123111"/>
                </a:cubicBezTo>
                <a:lnTo>
                  <a:pt x="10259" y="123111"/>
                </a:lnTo>
                <a:lnTo>
                  <a:pt x="10259" y="92333"/>
                </a:lnTo>
                <a:cubicBezTo>
                  <a:pt x="10259" y="84638"/>
                  <a:pt x="14363" y="77714"/>
                  <a:pt x="21288" y="74123"/>
                </a:cubicBezTo>
                <a:lnTo>
                  <a:pt x="26417" y="71301"/>
                </a:lnTo>
                <a:lnTo>
                  <a:pt x="26674" y="65402"/>
                </a:lnTo>
                <a:lnTo>
                  <a:pt x="28726" y="30778"/>
                </a:lnTo>
                <a:lnTo>
                  <a:pt x="37959" y="30778"/>
                </a:lnTo>
                <a:lnTo>
                  <a:pt x="40011" y="65659"/>
                </a:lnTo>
                <a:lnTo>
                  <a:pt x="40267" y="71558"/>
                </a:lnTo>
                <a:lnTo>
                  <a:pt x="45397" y="74379"/>
                </a:lnTo>
                <a:cubicBezTo>
                  <a:pt x="52322" y="77714"/>
                  <a:pt x="56426" y="84638"/>
                  <a:pt x="56426" y="92333"/>
                </a:cubicBezTo>
                <a:lnTo>
                  <a:pt x="56426" y="123111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6000">
                <a:schemeClr val="tx2"/>
              </a:gs>
              <a:gs pos="59000">
                <a:schemeClr val="accent4"/>
              </a:gs>
            </a:gsLst>
            <a:lin ang="0" scaled="0"/>
            <a:tileRect/>
          </a:gradFill>
          <a:ln w="24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4" name="Graphic 225" descr="Bottle">
            <a:extLst>
              <a:ext uri="{FF2B5EF4-FFF2-40B4-BE49-F238E27FC236}">
                <a16:creationId xmlns:a16="http://schemas.microsoft.com/office/drawing/2014/main" id="{E0612A9F-C6F9-44D7-9CDB-00B26624C8FB}"/>
              </a:ext>
            </a:extLst>
          </p:cNvPr>
          <p:cNvSpPr/>
          <p:nvPr/>
        </p:nvSpPr>
        <p:spPr>
          <a:xfrm>
            <a:off x="4413481" y="2731828"/>
            <a:ext cx="66684" cy="225702"/>
          </a:xfrm>
          <a:custGeom>
            <a:avLst/>
            <a:gdLst>
              <a:gd name="connsiteX0" fmla="*/ 50270 w 66684"/>
              <a:gd name="connsiteY0" fmla="*/ 65146 h 225702"/>
              <a:gd name="connsiteX1" fmla="*/ 47192 w 66684"/>
              <a:gd name="connsiteY1" fmla="*/ 12824 h 225702"/>
              <a:gd name="connsiteX2" fmla="*/ 51296 w 66684"/>
              <a:gd name="connsiteY2" fmla="*/ 12824 h 225702"/>
              <a:gd name="connsiteX3" fmla="*/ 51296 w 66684"/>
              <a:gd name="connsiteY3" fmla="*/ 10259 h 225702"/>
              <a:gd name="connsiteX4" fmla="*/ 44115 w 66684"/>
              <a:gd name="connsiteY4" fmla="*/ 513 h 225702"/>
              <a:gd name="connsiteX5" fmla="*/ 42319 w 66684"/>
              <a:gd name="connsiteY5" fmla="*/ 0 h 225702"/>
              <a:gd name="connsiteX6" fmla="*/ 41037 w 66684"/>
              <a:gd name="connsiteY6" fmla="*/ 0 h 225702"/>
              <a:gd name="connsiteX7" fmla="*/ 25648 w 66684"/>
              <a:gd name="connsiteY7" fmla="*/ 0 h 225702"/>
              <a:gd name="connsiteX8" fmla="*/ 24366 w 66684"/>
              <a:gd name="connsiteY8" fmla="*/ 0 h 225702"/>
              <a:gd name="connsiteX9" fmla="*/ 22570 w 66684"/>
              <a:gd name="connsiteY9" fmla="*/ 513 h 225702"/>
              <a:gd name="connsiteX10" fmla="*/ 15389 w 66684"/>
              <a:gd name="connsiteY10" fmla="*/ 10259 h 225702"/>
              <a:gd name="connsiteX11" fmla="*/ 15389 w 66684"/>
              <a:gd name="connsiteY11" fmla="*/ 12824 h 225702"/>
              <a:gd name="connsiteX12" fmla="*/ 19492 w 66684"/>
              <a:gd name="connsiteY12" fmla="*/ 12824 h 225702"/>
              <a:gd name="connsiteX13" fmla="*/ 16415 w 66684"/>
              <a:gd name="connsiteY13" fmla="*/ 65146 h 225702"/>
              <a:gd name="connsiteX14" fmla="*/ 0 w 66684"/>
              <a:gd name="connsiteY14" fmla="*/ 92333 h 225702"/>
              <a:gd name="connsiteX15" fmla="*/ 0 w 66684"/>
              <a:gd name="connsiteY15" fmla="*/ 215443 h 225702"/>
              <a:gd name="connsiteX16" fmla="*/ 33342 w 66684"/>
              <a:gd name="connsiteY16" fmla="*/ 225703 h 225702"/>
              <a:gd name="connsiteX17" fmla="*/ 66685 w 66684"/>
              <a:gd name="connsiteY17" fmla="*/ 215443 h 225702"/>
              <a:gd name="connsiteX18" fmla="*/ 66685 w 66684"/>
              <a:gd name="connsiteY18" fmla="*/ 92333 h 225702"/>
              <a:gd name="connsiteX19" fmla="*/ 50270 w 66684"/>
              <a:gd name="connsiteY19" fmla="*/ 65146 h 225702"/>
              <a:gd name="connsiteX20" fmla="*/ 56426 w 66684"/>
              <a:gd name="connsiteY20" fmla="*/ 212109 h 225702"/>
              <a:gd name="connsiteX21" fmla="*/ 33342 w 66684"/>
              <a:gd name="connsiteY21" fmla="*/ 215443 h 225702"/>
              <a:gd name="connsiteX22" fmla="*/ 10259 w 66684"/>
              <a:gd name="connsiteY22" fmla="*/ 212109 h 225702"/>
              <a:gd name="connsiteX23" fmla="*/ 10259 w 66684"/>
              <a:gd name="connsiteY23" fmla="*/ 169277 h 225702"/>
              <a:gd name="connsiteX24" fmla="*/ 17697 w 66684"/>
              <a:gd name="connsiteY24" fmla="*/ 169277 h 225702"/>
              <a:gd name="connsiteX25" fmla="*/ 33342 w 66684"/>
              <a:gd name="connsiteY25" fmla="*/ 182101 h 225702"/>
              <a:gd name="connsiteX26" fmla="*/ 48988 w 66684"/>
              <a:gd name="connsiteY26" fmla="*/ 169277 h 225702"/>
              <a:gd name="connsiteX27" fmla="*/ 56426 w 66684"/>
              <a:gd name="connsiteY27" fmla="*/ 169277 h 225702"/>
              <a:gd name="connsiteX28" fmla="*/ 56426 w 66684"/>
              <a:gd name="connsiteY28" fmla="*/ 212109 h 225702"/>
              <a:gd name="connsiteX29" fmla="*/ 56426 w 66684"/>
              <a:gd name="connsiteY29" fmla="*/ 123111 h 225702"/>
              <a:gd name="connsiteX30" fmla="*/ 48988 w 66684"/>
              <a:gd name="connsiteY30" fmla="*/ 123111 h 225702"/>
              <a:gd name="connsiteX31" fmla="*/ 33342 w 66684"/>
              <a:gd name="connsiteY31" fmla="*/ 110286 h 225702"/>
              <a:gd name="connsiteX32" fmla="*/ 17697 w 66684"/>
              <a:gd name="connsiteY32" fmla="*/ 123111 h 225702"/>
              <a:gd name="connsiteX33" fmla="*/ 10259 w 66684"/>
              <a:gd name="connsiteY33" fmla="*/ 123111 h 225702"/>
              <a:gd name="connsiteX34" fmla="*/ 10259 w 66684"/>
              <a:gd name="connsiteY34" fmla="*/ 92333 h 225702"/>
              <a:gd name="connsiteX35" fmla="*/ 21288 w 66684"/>
              <a:gd name="connsiteY35" fmla="*/ 74123 h 225702"/>
              <a:gd name="connsiteX36" fmla="*/ 26417 w 66684"/>
              <a:gd name="connsiteY36" fmla="*/ 71301 h 225702"/>
              <a:gd name="connsiteX37" fmla="*/ 26674 w 66684"/>
              <a:gd name="connsiteY37" fmla="*/ 65402 h 225702"/>
              <a:gd name="connsiteX38" fmla="*/ 28726 w 66684"/>
              <a:gd name="connsiteY38" fmla="*/ 30778 h 225702"/>
              <a:gd name="connsiteX39" fmla="*/ 37959 w 66684"/>
              <a:gd name="connsiteY39" fmla="*/ 30778 h 225702"/>
              <a:gd name="connsiteX40" fmla="*/ 40011 w 66684"/>
              <a:gd name="connsiteY40" fmla="*/ 65659 h 225702"/>
              <a:gd name="connsiteX41" fmla="*/ 40267 w 66684"/>
              <a:gd name="connsiteY41" fmla="*/ 71558 h 225702"/>
              <a:gd name="connsiteX42" fmla="*/ 45397 w 66684"/>
              <a:gd name="connsiteY42" fmla="*/ 74379 h 225702"/>
              <a:gd name="connsiteX43" fmla="*/ 56426 w 66684"/>
              <a:gd name="connsiteY43" fmla="*/ 92333 h 225702"/>
              <a:gd name="connsiteX44" fmla="*/ 56426 w 66684"/>
              <a:gd name="connsiteY44" fmla="*/ 123111 h 2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6684" h="225702">
                <a:moveTo>
                  <a:pt x="50270" y="65146"/>
                </a:moveTo>
                <a:lnTo>
                  <a:pt x="47192" y="12824"/>
                </a:lnTo>
                <a:lnTo>
                  <a:pt x="51296" y="12824"/>
                </a:lnTo>
                <a:lnTo>
                  <a:pt x="51296" y="10259"/>
                </a:lnTo>
                <a:cubicBezTo>
                  <a:pt x="51296" y="5643"/>
                  <a:pt x="48218" y="1795"/>
                  <a:pt x="44115" y="513"/>
                </a:cubicBezTo>
                <a:cubicBezTo>
                  <a:pt x="43602" y="256"/>
                  <a:pt x="43089" y="0"/>
                  <a:pt x="42319" y="0"/>
                </a:cubicBezTo>
                <a:lnTo>
                  <a:pt x="41037" y="0"/>
                </a:lnTo>
                <a:lnTo>
                  <a:pt x="25648" y="0"/>
                </a:lnTo>
                <a:lnTo>
                  <a:pt x="24366" y="0"/>
                </a:lnTo>
                <a:cubicBezTo>
                  <a:pt x="23596" y="0"/>
                  <a:pt x="23083" y="256"/>
                  <a:pt x="22570" y="513"/>
                </a:cubicBezTo>
                <a:cubicBezTo>
                  <a:pt x="18467" y="1795"/>
                  <a:pt x="15389" y="5643"/>
                  <a:pt x="15389" y="10259"/>
                </a:cubicBezTo>
                <a:lnTo>
                  <a:pt x="15389" y="12824"/>
                </a:lnTo>
                <a:lnTo>
                  <a:pt x="19492" y="12824"/>
                </a:lnTo>
                <a:lnTo>
                  <a:pt x="16415" y="65146"/>
                </a:lnTo>
                <a:cubicBezTo>
                  <a:pt x="6668" y="70276"/>
                  <a:pt x="0" y="80535"/>
                  <a:pt x="0" y="92333"/>
                </a:cubicBezTo>
                <a:lnTo>
                  <a:pt x="0" y="215443"/>
                </a:lnTo>
                <a:cubicBezTo>
                  <a:pt x="0" y="221086"/>
                  <a:pt x="14876" y="225703"/>
                  <a:pt x="33342" y="225703"/>
                </a:cubicBezTo>
                <a:cubicBezTo>
                  <a:pt x="51809" y="225703"/>
                  <a:pt x="66685" y="221086"/>
                  <a:pt x="66685" y="215443"/>
                </a:cubicBezTo>
                <a:lnTo>
                  <a:pt x="66685" y="92333"/>
                </a:lnTo>
                <a:cubicBezTo>
                  <a:pt x="66685" y="80535"/>
                  <a:pt x="60016" y="70276"/>
                  <a:pt x="50270" y="65146"/>
                </a:cubicBezTo>
                <a:close/>
                <a:moveTo>
                  <a:pt x="56426" y="212109"/>
                </a:moveTo>
                <a:cubicBezTo>
                  <a:pt x="52835" y="213648"/>
                  <a:pt x="44628" y="215443"/>
                  <a:pt x="33342" y="215443"/>
                </a:cubicBezTo>
                <a:cubicBezTo>
                  <a:pt x="22057" y="215443"/>
                  <a:pt x="13850" y="213648"/>
                  <a:pt x="10259" y="212109"/>
                </a:cubicBezTo>
                <a:lnTo>
                  <a:pt x="10259" y="169277"/>
                </a:lnTo>
                <a:lnTo>
                  <a:pt x="17697" y="169277"/>
                </a:lnTo>
                <a:cubicBezTo>
                  <a:pt x="21544" y="177228"/>
                  <a:pt x="27187" y="182101"/>
                  <a:pt x="33342" y="182101"/>
                </a:cubicBezTo>
                <a:cubicBezTo>
                  <a:pt x="39498" y="182101"/>
                  <a:pt x="45397" y="177228"/>
                  <a:pt x="48988" y="169277"/>
                </a:cubicBezTo>
                <a:lnTo>
                  <a:pt x="56426" y="169277"/>
                </a:lnTo>
                <a:lnTo>
                  <a:pt x="56426" y="212109"/>
                </a:lnTo>
                <a:close/>
                <a:moveTo>
                  <a:pt x="56426" y="123111"/>
                </a:moveTo>
                <a:lnTo>
                  <a:pt x="48988" y="123111"/>
                </a:lnTo>
                <a:cubicBezTo>
                  <a:pt x="45141" y="115160"/>
                  <a:pt x="39498" y="110286"/>
                  <a:pt x="33342" y="110286"/>
                </a:cubicBezTo>
                <a:cubicBezTo>
                  <a:pt x="27187" y="110286"/>
                  <a:pt x="21288" y="115160"/>
                  <a:pt x="17697" y="123111"/>
                </a:cubicBezTo>
                <a:lnTo>
                  <a:pt x="10259" y="123111"/>
                </a:lnTo>
                <a:lnTo>
                  <a:pt x="10259" y="92333"/>
                </a:lnTo>
                <a:cubicBezTo>
                  <a:pt x="10259" y="84638"/>
                  <a:pt x="14363" y="77714"/>
                  <a:pt x="21288" y="74123"/>
                </a:cubicBezTo>
                <a:lnTo>
                  <a:pt x="26417" y="71301"/>
                </a:lnTo>
                <a:lnTo>
                  <a:pt x="26674" y="65402"/>
                </a:lnTo>
                <a:lnTo>
                  <a:pt x="28726" y="30778"/>
                </a:lnTo>
                <a:lnTo>
                  <a:pt x="37959" y="30778"/>
                </a:lnTo>
                <a:lnTo>
                  <a:pt x="40011" y="65659"/>
                </a:lnTo>
                <a:lnTo>
                  <a:pt x="40267" y="71558"/>
                </a:lnTo>
                <a:lnTo>
                  <a:pt x="45397" y="74379"/>
                </a:lnTo>
                <a:cubicBezTo>
                  <a:pt x="52322" y="77714"/>
                  <a:pt x="56426" y="84638"/>
                  <a:pt x="56426" y="92333"/>
                </a:cubicBezTo>
                <a:lnTo>
                  <a:pt x="56426" y="123111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6000">
                <a:schemeClr val="tx2"/>
              </a:gs>
              <a:gs pos="59000">
                <a:schemeClr val="accent4"/>
              </a:gs>
            </a:gsLst>
            <a:lin ang="0" scaled="0"/>
            <a:tileRect/>
          </a:gradFill>
          <a:ln w="24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5" name="Graphic 225" descr="Bottle">
            <a:extLst>
              <a:ext uri="{FF2B5EF4-FFF2-40B4-BE49-F238E27FC236}">
                <a16:creationId xmlns:a16="http://schemas.microsoft.com/office/drawing/2014/main" id="{E68E21E2-DFE7-49EE-9378-A58DA80FD750}"/>
              </a:ext>
            </a:extLst>
          </p:cNvPr>
          <p:cNvSpPr/>
          <p:nvPr/>
        </p:nvSpPr>
        <p:spPr>
          <a:xfrm>
            <a:off x="4413481" y="3103766"/>
            <a:ext cx="66684" cy="225702"/>
          </a:xfrm>
          <a:custGeom>
            <a:avLst/>
            <a:gdLst>
              <a:gd name="connsiteX0" fmla="*/ 50270 w 66684"/>
              <a:gd name="connsiteY0" fmla="*/ 65146 h 225702"/>
              <a:gd name="connsiteX1" fmla="*/ 47192 w 66684"/>
              <a:gd name="connsiteY1" fmla="*/ 12824 h 225702"/>
              <a:gd name="connsiteX2" fmla="*/ 51296 w 66684"/>
              <a:gd name="connsiteY2" fmla="*/ 12824 h 225702"/>
              <a:gd name="connsiteX3" fmla="*/ 51296 w 66684"/>
              <a:gd name="connsiteY3" fmla="*/ 10259 h 225702"/>
              <a:gd name="connsiteX4" fmla="*/ 44115 w 66684"/>
              <a:gd name="connsiteY4" fmla="*/ 513 h 225702"/>
              <a:gd name="connsiteX5" fmla="*/ 42319 w 66684"/>
              <a:gd name="connsiteY5" fmla="*/ 0 h 225702"/>
              <a:gd name="connsiteX6" fmla="*/ 41037 w 66684"/>
              <a:gd name="connsiteY6" fmla="*/ 0 h 225702"/>
              <a:gd name="connsiteX7" fmla="*/ 25648 w 66684"/>
              <a:gd name="connsiteY7" fmla="*/ 0 h 225702"/>
              <a:gd name="connsiteX8" fmla="*/ 24366 w 66684"/>
              <a:gd name="connsiteY8" fmla="*/ 0 h 225702"/>
              <a:gd name="connsiteX9" fmla="*/ 22570 w 66684"/>
              <a:gd name="connsiteY9" fmla="*/ 513 h 225702"/>
              <a:gd name="connsiteX10" fmla="*/ 15389 w 66684"/>
              <a:gd name="connsiteY10" fmla="*/ 10259 h 225702"/>
              <a:gd name="connsiteX11" fmla="*/ 15389 w 66684"/>
              <a:gd name="connsiteY11" fmla="*/ 12824 h 225702"/>
              <a:gd name="connsiteX12" fmla="*/ 19492 w 66684"/>
              <a:gd name="connsiteY12" fmla="*/ 12824 h 225702"/>
              <a:gd name="connsiteX13" fmla="*/ 16415 w 66684"/>
              <a:gd name="connsiteY13" fmla="*/ 65146 h 225702"/>
              <a:gd name="connsiteX14" fmla="*/ 0 w 66684"/>
              <a:gd name="connsiteY14" fmla="*/ 92333 h 225702"/>
              <a:gd name="connsiteX15" fmla="*/ 0 w 66684"/>
              <a:gd name="connsiteY15" fmla="*/ 215443 h 225702"/>
              <a:gd name="connsiteX16" fmla="*/ 33342 w 66684"/>
              <a:gd name="connsiteY16" fmla="*/ 225703 h 225702"/>
              <a:gd name="connsiteX17" fmla="*/ 66685 w 66684"/>
              <a:gd name="connsiteY17" fmla="*/ 215443 h 225702"/>
              <a:gd name="connsiteX18" fmla="*/ 66685 w 66684"/>
              <a:gd name="connsiteY18" fmla="*/ 92333 h 225702"/>
              <a:gd name="connsiteX19" fmla="*/ 50270 w 66684"/>
              <a:gd name="connsiteY19" fmla="*/ 65146 h 225702"/>
              <a:gd name="connsiteX20" fmla="*/ 56426 w 66684"/>
              <a:gd name="connsiteY20" fmla="*/ 212109 h 225702"/>
              <a:gd name="connsiteX21" fmla="*/ 33342 w 66684"/>
              <a:gd name="connsiteY21" fmla="*/ 215443 h 225702"/>
              <a:gd name="connsiteX22" fmla="*/ 10259 w 66684"/>
              <a:gd name="connsiteY22" fmla="*/ 212109 h 225702"/>
              <a:gd name="connsiteX23" fmla="*/ 10259 w 66684"/>
              <a:gd name="connsiteY23" fmla="*/ 169277 h 225702"/>
              <a:gd name="connsiteX24" fmla="*/ 17697 w 66684"/>
              <a:gd name="connsiteY24" fmla="*/ 169277 h 225702"/>
              <a:gd name="connsiteX25" fmla="*/ 33342 w 66684"/>
              <a:gd name="connsiteY25" fmla="*/ 182101 h 225702"/>
              <a:gd name="connsiteX26" fmla="*/ 48988 w 66684"/>
              <a:gd name="connsiteY26" fmla="*/ 169277 h 225702"/>
              <a:gd name="connsiteX27" fmla="*/ 56426 w 66684"/>
              <a:gd name="connsiteY27" fmla="*/ 169277 h 225702"/>
              <a:gd name="connsiteX28" fmla="*/ 56426 w 66684"/>
              <a:gd name="connsiteY28" fmla="*/ 212109 h 225702"/>
              <a:gd name="connsiteX29" fmla="*/ 56426 w 66684"/>
              <a:gd name="connsiteY29" fmla="*/ 123111 h 225702"/>
              <a:gd name="connsiteX30" fmla="*/ 48988 w 66684"/>
              <a:gd name="connsiteY30" fmla="*/ 123111 h 225702"/>
              <a:gd name="connsiteX31" fmla="*/ 33342 w 66684"/>
              <a:gd name="connsiteY31" fmla="*/ 110286 h 225702"/>
              <a:gd name="connsiteX32" fmla="*/ 17697 w 66684"/>
              <a:gd name="connsiteY32" fmla="*/ 123111 h 225702"/>
              <a:gd name="connsiteX33" fmla="*/ 10259 w 66684"/>
              <a:gd name="connsiteY33" fmla="*/ 123111 h 225702"/>
              <a:gd name="connsiteX34" fmla="*/ 10259 w 66684"/>
              <a:gd name="connsiteY34" fmla="*/ 92333 h 225702"/>
              <a:gd name="connsiteX35" fmla="*/ 21288 w 66684"/>
              <a:gd name="connsiteY35" fmla="*/ 74123 h 225702"/>
              <a:gd name="connsiteX36" fmla="*/ 26417 w 66684"/>
              <a:gd name="connsiteY36" fmla="*/ 71301 h 225702"/>
              <a:gd name="connsiteX37" fmla="*/ 26674 w 66684"/>
              <a:gd name="connsiteY37" fmla="*/ 65402 h 225702"/>
              <a:gd name="connsiteX38" fmla="*/ 28726 w 66684"/>
              <a:gd name="connsiteY38" fmla="*/ 30778 h 225702"/>
              <a:gd name="connsiteX39" fmla="*/ 37959 w 66684"/>
              <a:gd name="connsiteY39" fmla="*/ 30778 h 225702"/>
              <a:gd name="connsiteX40" fmla="*/ 40011 w 66684"/>
              <a:gd name="connsiteY40" fmla="*/ 65659 h 225702"/>
              <a:gd name="connsiteX41" fmla="*/ 40267 w 66684"/>
              <a:gd name="connsiteY41" fmla="*/ 71558 h 225702"/>
              <a:gd name="connsiteX42" fmla="*/ 45397 w 66684"/>
              <a:gd name="connsiteY42" fmla="*/ 74379 h 225702"/>
              <a:gd name="connsiteX43" fmla="*/ 56426 w 66684"/>
              <a:gd name="connsiteY43" fmla="*/ 92333 h 225702"/>
              <a:gd name="connsiteX44" fmla="*/ 56426 w 66684"/>
              <a:gd name="connsiteY44" fmla="*/ 123111 h 22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6684" h="225702">
                <a:moveTo>
                  <a:pt x="50270" y="65146"/>
                </a:moveTo>
                <a:lnTo>
                  <a:pt x="47192" y="12824"/>
                </a:lnTo>
                <a:lnTo>
                  <a:pt x="51296" y="12824"/>
                </a:lnTo>
                <a:lnTo>
                  <a:pt x="51296" y="10259"/>
                </a:lnTo>
                <a:cubicBezTo>
                  <a:pt x="51296" y="5643"/>
                  <a:pt x="48218" y="1795"/>
                  <a:pt x="44115" y="513"/>
                </a:cubicBezTo>
                <a:cubicBezTo>
                  <a:pt x="43602" y="256"/>
                  <a:pt x="43089" y="0"/>
                  <a:pt x="42319" y="0"/>
                </a:cubicBezTo>
                <a:lnTo>
                  <a:pt x="41037" y="0"/>
                </a:lnTo>
                <a:lnTo>
                  <a:pt x="25648" y="0"/>
                </a:lnTo>
                <a:lnTo>
                  <a:pt x="24366" y="0"/>
                </a:lnTo>
                <a:cubicBezTo>
                  <a:pt x="23596" y="0"/>
                  <a:pt x="23083" y="256"/>
                  <a:pt x="22570" y="513"/>
                </a:cubicBezTo>
                <a:cubicBezTo>
                  <a:pt x="18467" y="1795"/>
                  <a:pt x="15389" y="5643"/>
                  <a:pt x="15389" y="10259"/>
                </a:cubicBezTo>
                <a:lnTo>
                  <a:pt x="15389" y="12824"/>
                </a:lnTo>
                <a:lnTo>
                  <a:pt x="19492" y="12824"/>
                </a:lnTo>
                <a:lnTo>
                  <a:pt x="16415" y="65146"/>
                </a:lnTo>
                <a:cubicBezTo>
                  <a:pt x="6668" y="70276"/>
                  <a:pt x="0" y="80535"/>
                  <a:pt x="0" y="92333"/>
                </a:cubicBezTo>
                <a:lnTo>
                  <a:pt x="0" y="215443"/>
                </a:lnTo>
                <a:cubicBezTo>
                  <a:pt x="0" y="221086"/>
                  <a:pt x="14876" y="225703"/>
                  <a:pt x="33342" y="225703"/>
                </a:cubicBezTo>
                <a:cubicBezTo>
                  <a:pt x="51809" y="225703"/>
                  <a:pt x="66685" y="221086"/>
                  <a:pt x="66685" y="215443"/>
                </a:cubicBezTo>
                <a:lnTo>
                  <a:pt x="66685" y="92333"/>
                </a:lnTo>
                <a:cubicBezTo>
                  <a:pt x="66685" y="80535"/>
                  <a:pt x="60016" y="70276"/>
                  <a:pt x="50270" y="65146"/>
                </a:cubicBezTo>
                <a:close/>
                <a:moveTo>
                  <a:pt x="56426" y="212109"/>
                </a:moveTo>
                <a:cubicBezTo>
                  <a:pt x="52835" y="213648"/>
                  <a:pt x="44628" y="215443"/>
                  <a:pt x="33342" y="215443"/>
                </a:cubicBezTo>
                <a:cubicBezTo>
                  <a:pt x="22057" y="215443"/>
                  <a:pt x="13850" y="213648"/>
                  <a:pt x="10259" y="212109"/>
                </a:cubicBezTo>
                <a:lnTo>
                  <a:pt x="10259" y="169277"/>
                </a:lnTo>
                <a:lnTo>
                  <a:pt x="17697" y="169277"/>
                </a:lnTo>
                <a:cubicBezTo>
                  <a:pt x="21544" y="177228"/>
                  <a:pt x="27187" y="182101"/>
                  <a:pt x="33342" y="182101"/>
                </a:cubicBezTo>
                <a:cubicBezTo>
                  <a:pt x="39498" y="182101"/>
                  <a:pt x="45397" y="177228"/>
                  <a:pt x="48988" y="169277"/>
                </a:cubicBezTo>
                <a:lnTo>
                  <a:pt x="56426" y="169277"/>
                </a:lnTo>
                <a:lnTo>
                  <a:pt x="56426" y="212109"/>
                </a:lnTo>
                <a:close/>
                <a:moveTo>
                  <a:pt x="56426" y="123111"/>
                </a:moveTo>
                <a:lnTo>
                  <a:pt x="48988" y="123111"/>
                </a:lnTo>
                <a:cubicBezTo>
                  <a:pt x="45141" y="115160"/>
                  <a:pt x="39498" y="110286"/>
                  <a:pt x="33342" y="110286"/>
                </a:cubicBezTo>
                <a:cubicBezTo>
                  <a:pt x="27187" y="110286"/>
                  <a:pt x="21288" y="115160"/>
                  <a:pt x="17697" y="123111"/>
                </a:cubicBezTo>
                <a:lnTo>
                  <a:pt x="10259" y="123111"/>
                </a:lnTo>
                <a:lnTo>
                  <a:pt x="10259" y="92333"/>
                </a:lnTo>
                <a:cubicBezTo>
                  <a:pt x="10259" y="84638"/>
                  <a:pt x="14363" y="77714"/>
                  <a:pt x="21288" y="74123"/>
                </a:cubicBezTo>
                <a:lnTo>
                  <a:pt x="26417" y="71301"/>
                </a:lnTo>
                <a:lnTo>
                  <a:pt x="26674" y="65402"/>
                </a:lnTo>
                <a:lnTo>
                  <a:pt x="28726" y="30778"/>
                </a:lnTo>
                <a:lnTo>
                  <a:pt x="37959" y="30778"/>
                </a:lnTo>
                <a:lnTo>
                  <a:pt x="40011" y="65659"/>
                </a:lnTo>
                <a:lnTo>
                  <a:pt x="40267" y="71558"/>
                </a:lnTo>
                <a:lnTo>
                  <a:pt x="45397" y="74379"/>
                </a:lnTo>
                <a:cubicBezTo>
                  <a:pt x="52322" y="77714"/>
                  <a:pt x="56426" y="84638"/>
                  <a:pt x="56426" y="92333"/>
                </a:cubicBezTo>
                <a:lnTo>
                  <a:pt x="56426" y="123111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6000">
                <a:schemeClr val="tx2"/>
              </a:gs>
              <a:gs pos="59000">
                <a:schemeClr val="accent4"/>
              </a:gs>
            </a:gsLst>
            <a:lin ang="0" scaled="0"/>
            <a:tileRect/>
          </a:gradFill>
          <a:ln w="24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3FD652-FA8F-40D8-97BA-58F7A0E31C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9459" y="3333423"/>
            <a:ext cx="1621464" cy="171072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014FCFE-2D4F-4DD3-A86F-FA1708592C6F}"/>
              </a:ext>
            </a:extLst>
          </p:cNvPr>
          <p:cNvGrpSpPr/>
          <p:nvPr/>
        </p:nvGrpSpPr>
        <p:grpSpPr>
          <a:xfrm>
            <a:off x="0" y="6934982"/>
            <a:ext cx="2660097" cy="248943"/>
            <a:chOff x="3224661" y="3280391"/>
            <a:chExt cx="2660097" cy="248943"/>
          </a:xfrm>
        </p:grpSpPr>
        <p:pic>
          <p:nvPicPr>
            <p:cNvPr id="102" name="Graphic 101" descr="Bottle">
              <a:extLst>
                <a:ext uri="{FF2B5EF4-FFF2-40B4-BE49-F238E27FC236}">
                  <a16:creationId xmlns:a16="http://schemas.microsoft.com/office/drawing/2014/main" id="{3F5F8F1E-3666-4745-A5AA-0EF58197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351419" y="3329468"/>
              <a:ext cx="147057" cy="147057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EC12187-7766-4576-950A-628AF649BC9B}"/>
                </a:ext>
              </a:extLst>
            </p:cNvPr>
            <p:cNvSpPr txBox="1"/>
            <p:nvPr/>
          </p:nvSpPr>
          <p:spPr>
            <a:xfrm>
              <a:off x="3224661" y="3283113"/>
              <a:ext cx="32332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n-US" sz="100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4757219-A051-4420-ADBD-6D0188B065CD}"/>
                </a:ext>
              </a:extLst>
            </p:cNvPr>
            <p:cNvSpPr txBox="1"/>
            <p:nvPr/>
          </p:nvSpPr>
          <p:spPr>
            <a:xfrm>
              <a:off x="3394600" y="3280391"/>
              <a:ext cx="2490158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>
                  <a:solidFill>
                    <a:schemeClr val="tx1"/>
                  </a:solidFill>
                </a:rPr>
                <a:t>~ 10% in total wine purchases</a:t>
              </a:r>
              <a:endParaRPr lang="en-US" sz="1000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AB15D826-A2EB-4447-BF10-72C329E0C564}"/>
              </a:ext>
            </a:extLst>
          </p:cNvPr>
          <p:cNvGrpSpPr/>
          <p:nvPr/>
        </p:nvGrpSpPr>
        <p:grpSpPr>
          <a:xfrm>
            <a:off x="3432373" y="5343336"/>
            <a:ext cx="509990" cy="507800"/>
            <a:chOff x="3338513" y="5022850"/>
            <a:chExt cx="838200" cy="838200"/>
          </a:xfrm>
        </p:grpSpPr>
        <p:sp>
          <p:nvSpPr>
            <p:cNvPr id="105" name="Freeform 675">
              <a:extLst>
                <a:ext uri="{FF2B5EF4-FFF2-40B4-BE49-F238E27FC236}">
                  <a16:creationId xmlns:a16="http://schemas.microsoft.com/office/drawing/2014/main" id="{E404E30A-48E4-47F3-8665-381C89536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  <a:close/>
                </a:path>
              </a:pathLst>
            </a:custGeom>
            <a:solidFill>
              <a:srgbClr val="BED6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676">
              <a:extLst>
                <a:ext uri="{FF2B5EF4-FFF2-40B4-BE49-F238E27FC236}">
                  <a16:creationId xmlns:a16="http://schemas.microsoft.com/office/drawing/2014/main" id="{5D01BD88-B85B-44DA-88FD-039130C4D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677">
              <a:extLst>
                <a:ext uri="{FF2B5EF4-FFF2-40B4-BE49-F238E27FC236}">
                  <a16:creationId xmlns:a16="http://schemas.microsoft.com/office/drawing/2014/main" id="{9A591731-91EF-406D-9C6D-8A8ACB5E0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678">
              <a:extLst>
                <a:ext uri="{FF2B5EF4-FFF2-40B4-BE49-F238E27FC236}">
                  <a16:creationId xmlns:a16="http://schemas.microsoft.com/office/drawing/2014/main" id="{D67DFA2A-D366-4B00-9370-1C8788D4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679">
              <a:extLst>
                <a:ext uri="{FF2B5EF4-FFF2-40B4-BE49-F238E27FC236}">
                  <a16:creationId xmlns:a16="http://schemas.microsoft.com/office/drawing/2014/main" id="{21C761C6-9C0B-4C7F-9E12-4E9818FB4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  <a:cxn ang="0">
                  <a:pos x="2210" y="627"/>
                </a:cxn>
                <a:cxn ang="0">
                  <a:pos x="2241" y="614"/>
                </a:cxn>
                <a:cxn ang="0">
                  <a:pos x="2235" y="662"/>
                </a:cxn>
                <a:cxn ang="0">
                  <a:pos x="2198" y="67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  <a:close/>
                  <a:moveTo>
                    <a:pt x="2210" y="627"/>
                  </a:moveTo>
                  <a:lnTo>
                    <a:pt x="2210" y="627"/>
                  </a:lnTo>
                  <a:lnTo>
                    <a:pt x="2219" y="615"/>
                  </a:lnTo>
                  <a:lnTo>
                    <a:pt x="2228" y="607"/>
                  </a:lnTo>
                  <a:lnTo>
                    <a:pt x="2233" y="603"/>
                  </a:lnTo>
                  <a:lnTo>
                    <a:pt x="2236" y="602"/>
                  </a:lnTo>
                  <a:lnTo>
                    <a:pt x="2236" y="602"/>
                  </a:lnTo>
                  <a:lnTo>
                    <a:pt x="2238" y="604"/>
                  </a:lnTo>
                  <a:lnTo>
                    <a:pt x="2240" y="608"/>
                  </a:lnTo>
                  <a:lnTo>
                    <a:pt x="2241" y="614"/>
                  </a:lnTo>
                  <a:lnTo>
                    <a:pt x="2242" y="621"/>
                  </a:lnTo>
                  <a:lnTo>
                    <a:pt x="2242" y="629"/>
                  </a:lnTo>
                  <a:lnTo>
                    <a:pt x="2241" y="640"/>
                  </a:lnTo>
                  <a:lnTo>
                    <a:pt x="2239" y="650"/>
                  </a:lnTo>
                  <a:lnTo>
                    <a:pt x="2235" y="661"/>
                  </a:lnTo>
                  <a:lnTo>
                    <a:pt x="2235" y="661"/>
                  </a:lnTo>
                  <a:lnTo>
                    <a:pt x="2235" y="662"/>
                  </a:lnTo>
                  <a:lnTo>
                    <a:pt x="2235" y="662"/>
                  </a:lnTo>
                  <a:lnTo>
                    <a:pt x="2229" y="677"/>
                  </a:lnTo>
                  <a:lnTo>
                    <a:pt x="2220" y="689"/>
                  </a:lnTo>
                  <a:lnTo>
                    <a:pt x="2212" y="701"/>
                  </a:lnTo>
                  <a:lnTo>
                    <a:pt x="2203" y="709"/>
                  </a:lnTo>
                  <a:lnTo>
                    <a:pt x="2203" y="709"/>
                  </a:lnTo>
                  <a:lnTo>
                    <a:pt x="2201" y="697"/>
                  </a:lnTo>
                  <a:lnTo>
                    <a:pt x="2199" y="686"/>
                  </a:lnTo>
                  <a:lnTo>
                    <a:pt x="2198" y="675"/>
                  </a:lnTo>
                  <a:lnTo>
                    <a:pt x="2199" y="664"/>
                  </a:lnTo>
                  <a:lnTo>
                    <a:pt x="2200" y="654"/>
                  </a:lnTo>
                  <a:lnTo>
                    <a:pt x="2202" y="645"/>
                  </a:lnTo>
                  <a:lnTo>
                    <a:pt x="2205" y="636"/>
                  </a:lnTo>
                  <a:lnTo>
                    <a:pt x="2210" y="627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680">
              <a:extLst>
                <a:ext uri="{FF2B5EF4-FFF2-40B4-BE49-F238E27FC236}">
                  <a16:creationId xmlns:a16="http://schemas.microsoft.com/office/drawing/2014/main" id="{138CCA3B-C4A9-4164-96E8-F9A82128C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681">
              <a:extLst>
                <a:ext uri="{FF2B5EF4-FFF2-40B4-BE49-F238E27FC236}">
                  <a16:creationId xmlns:a16="http://schemas.microsoft.com/office/drawing/2014/main" id="{B6EF94D6-8B3E-4C7E-ACE7-8194F8F9A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813" y="5459413"/>
              <a:ext cx="9525" cy="20638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12" y="25"/>
                </a:cxn>
                <a:cxn ang="0">
                  <a:pos x="21" y="13"/>
                </a:cxn>
                <a:cxn ang="0">
                  <a:pos x="30" y="5"/>
                </a:cxn>
                <a:cxn ang="0">
                  <a:pos x="35" y="1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40" y="2"/>
                </a:cxn>
                <a:cxn ang="0">
                  <a:pos x="42" y="6"/>
                </a:cxn>
                <a:cxn ang="0">
                  <a:pos x="43" y="12"/>
                </a:cxn>
                <a:cxn ang="0">
                  <a:pos x="44" y="19"/>
                </a:cxn>
                <a:cxn ang="0">
                  <a:pos x="44" y="27"/>
                </a:cxn>
                <a:cxn ang="0">
                  <a:pos x="43" y="38"/>
                </a:cxn>
                <a:cxn ang="0">
                  <a:pos x="41" y="48"/>
                </a:cxn>
                <a:cxn ang="0">
                  <a:pos x="37" y="59"/>
                </a:cxn>
                <a:cxn ang="0">
                  <a:pos x="37" y="59"/>
                </a:cxn>
                <a:cxn ang="0">
                  <a:pos x="37" y="60"/>
                </a:cxn>
                <a:cxn ang="0">
                  <a:pos x="37" y="60"/>
                </a:cxn>
                <a:cxn ang="0">
                  <a:pos x="31" y="75"/>
                </a:cxn>
                <a:cxn ang="0">
                  <a:pos x="22" y="87"/>
                </a:cxn>
                <a:cxn ang="0">
                  <a:pos x="14" y="99"/>
                </a:cxn>
                <a:cxn ang="0">
                  <a:pos x="5" y="107"/>
                </a:cxn>
                <a:cxn ang="0">
                  <a:pos x="5" y="107"/>
                </a:cxn>
                <a:cxn ang="0">
                  <a:pos x="3" y="95"/>
                </a:cxn>
                <a:cxn ang="0">
                  <a:pos x="1" y="84"/>
                </a:cxn>
                <a:cxn ang="0">
                  <a:pos x="0" y="73"/>
                </a:cxn>
                <a:cxn ang="0">
                  <a:pos x="1" y="62"/>
                </a:cxn>
                <a:cxn ang="0">
                  <a:pos x="2" y="52"/>
                </a:cxn>
                <a:cxn ang="0">
                  <a:pos x="4" y="43"/>
                </a:cxn>
                <a:cxn ang="0">
                  <a:pos x="7" y="34"/>
                </a:cxn>
                <a:cxn ang="0">
                  <a:pos x="12" y="25"/>
                </a:cxn>
              </a:cxnLst>
              <a:rect l="0" t="0" r="r" b="b"/>
              <a:pathLst>
                <a:path w="44" h="107">
                  <a:moveTo>
                    <a:pt x="12" y="25"/>
                  </a:moveTo>
                  <a:lnTo>
                    <a:pt x="12" y="25"/>
                  </a:lnTo>
                  <a:lnTo>
                    <a:pt x="21" y="13"/>
                  </a:lnTo>
                  <a:lnTo>
                    <a:pt x="30" y="5"/>
                  </a:lnTo>
                  <a:lnTo>
                    <a:pt x="35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6"/>
                  </a:lnTo>
                  <a:lnTo>
                    <a:pt x="43" y="12"/>
                  </a:lnTo>
                  <a:lnTo>
                    <a:pt x="44" y="19"/>
                  </a:lnTo>
                  <a:lnTo>
                    <a:pt x="44" y="27"/>
                  </a:lnTo>
                  <a:lnTo>
                    <a:pt x="43" y="38"/>
                  </a:lnTo>
                  <a:lnTo>
                    <a:pt x="41" y="48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1" y="75"/>
                  </a:lnTo>
                  <a:lnTo>
                    <a:pt x="22" y="87"/>
                  </a:lnTo>
                  <a:lnTo>
                    <a:pt x="14" y="99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95"/>
                  </a:lnTo>
                  <a:lnTo>
                    <a:pt x="1" y="84"/>
                  </a:lnTo>
                  <a:lnTo>
                    <a:pt x="0" y="73"/>
                  </a:lnTo>
                  <a:lnTo>
                    <a:pt x="1" y="62"/>
                  </a:lnTo>
                  <a:lnTo>
                    <a:pt x="2" y="52"/>
                  </a:lnTo>
                  <a:lnTo>
                    <a:pt x="4" y="43"/>
                  </a:lnTo>
                  <a:lnTo>
                    <a:pt x="7" y="34"/>
                  </a:lnTo>
                  <a:lnTo>
                    <a:pt x="12" y="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682">
              <a:extLst>
                <a:ext uri="{FF2B5EF4-FFF2-40B4-BE49-F238E27FC236}">
                  <a16:creationId xmlns:a16="http://schemas.microsoft.com/office/drawing/2014/main" id="{270531D0-C7FD-4064-9320-B52AB244C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solidFill>
              <a:srgbClr val="FAAB1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683">
              <a:extLst>
                <a:ext uri="{FF2B5EF4-FFF2-40B4-BE49-F238E27FC236}">
                  <a16:creationId xmlns:a16="http://schemas.microsoft.com/office/drawing/2014/main" id="{D5EF039B-A164-45E1-A53F-BBE23F6DA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684">
              <a:extLst>
                <a:ext uri="{FF2B5EF4-FFF2-40B4-BE49-F238E27FC236}">
                  <a16:creationId xmlns:a16="http://schemas.microsoft.com/office/drawing/2014/main" id="{42965830-D7DC-474D-9DCF-EEDDC8D9A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685">
              <a:extLst>
                <a:ext uri="{FF2B5EF4-FFF2-40B4-BE49-F238E27FC236}">
                  <a16:creationId xmlns:a16="http://schemas.microsoft.com/office/drawing/2014/main" id="{22480721-5E1F-49E9-8B02-96868DE3A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686">
              <a:extLst>
                <a:ext uri="{FF2B5EF4-FFF2-40B4-BE49-F238E27FC236}">
                  <a16:creationId xmlns:a16="http://schemas.microsoft.com/office/drawing/2014/main" id="{C5852C6F-5B9A-4921-9FEE-58C35B61B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5580063"/>
              <a:ext cx="76200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2" y="18"/>
                </a:cxn>
                <a:cxn ang="0">
                  <a:pos x="358" y="30"/>
                </a:cxn>
                <a:cxn ang="0">
                  <a:pos x="369" y="45"/>
                </a:cxn>
                <a:cxn ang="0">
                  <a:pos x="378" y="61"/>
                </a:cxn>
                <a:cxn ang="0">
                  <a:pos x="385" y="80"/>
                </a:cxn>
                <a:cxn ang="0">
                  <a:pos x="387" y="100"/>
                </a:cxn>
                <a:cxn ang="0">
                  <a:pos x="329" y="423"/>
                </a:cxn>
                <a:cxn ang="0">
                  <a:pos x="327" y="437"/>
                </a:cxn>
                <a:cxn ang="0">
                  <a:pos x="323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59" y="493"/>
                </a:cxn>
                <a:cxn ang="0">
                  <a:pos x="128" y="493"/>
                </a:cxn>
                <a:cxn ang="0">
                  <a:pos x="114" y="491"/>
                </a:cxn>
                <a:cxn ang="0">
                  <a:pos x="100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3" y="450"/>
                </a:cxn>
                <a:cxn ang="0">
                  <a:pos x="59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7" y="61"/>
                </a:cxn>
                <a:cxn ang="0">
                  <a:pos x="17" y="45"/>
                </a:cxn>
                <a:cxn ang="0">
                  <a:pos x="29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80" y="2"/>
                </a:cxn>
                <a:cxn ang="0">
                  <a:pos x="99" y="0"/>
                </a:cxn>
              </a:cxnLst>
              <a:rect l="0" t="0" r="r" b="b"/>
              <a:pathLst>
                <a:path w="387" h="493">
                  <a:moveTo>
                    <a:pt x="287" y="0"/>
                  </a:moveTo>
                  <a:lnTo>
                    <a:pt x="287" y="0"/>
                  </a:lnTo>
                  <a:lnTo>
                    <a:pt x="297" y="1"/>
                  </a:lnTo>
                  <a:lnTo>
                    <a:pt x="307" y="2"/>
                  </a:lnTo>
                  <a:lnTo>
                    <a:pt x="317" y="6"/>
                  </a:lnTo>
                  <a:lnTo>
                    <a:pt x="326" y="9"/>
                  </a:lnTo>
                  <a:lnTo>
                    <a:pt x="334" y="13"/>
                  </a:lnTo>
                  <a:lnTo>
                    <a:pt x="342" y="18"/>
                  </a:lnTo>
                  <a:lnTo>
                    <a:pt x="351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69" y="45"/>
                  </a:lnTo>
                  <a:lnTo>
                    <a:pt x="374" y="53"/>
                  </a:lnTo>
                  <a:lnTo>
                    <a:pt x="378" y="61"/>
                  </a:lnTo>
                  <a:lnTo>
                    <a:pt x="382" y="70"/>
                  </a:lnTo>
                  <a:lnTo>
                    <a:pt x="385" y="80"/>
                  </a:lnTo>
                  <a:lnTo>
                    <a:pt x="386" y="90"/>
                  </a:lnTo>
                  <a:lnTo>
                    <a:pt x="387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8" y="430"/>
                  </a:lnTo>
                  <a:lnTo>
                    <a:pt x="327" y="437"/>
                  </a:lnTo>
                  <a:lnTo>
                    <a:pt x="326" y="443"/>
                  </a:lnTo>
                  <a:lnTo>
                    <a:pt x="323" y="450"/>
                  </a:lnTo>
                  <a:lnTo>
                    <a:pt x="321" y="456"/>
                  </a:lnTo>
                  <a:lnTo>
                    <a:pt x="317" y="462"/>
                  </a:lnTo>
                  <a:lnTo>
                    <a:pt x="312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2" y="485"/>
                  </a:lnTo>
                  <a:lnTo>
                    <a:pt x="286" y="488"/>
                  </a:lnTo>
                  <a:lnTo>
                    <a:pt x="279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59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4" y="491"/>
                  </a:lnTo>
                  <a:lnTo>
                    <a:pt x="107" y="490"/>
                  </a:lnTo>
                  <a:lnTo>
                    <a:pt x="100" y="488"/>
                  </a:lnTo>
                  <a:lnTo>
                    <a:pt x="94" y="485"/>
                  </a:lnTo>
                  <a:lnTo>
                    <a:pt x="89" y="480"/>
                  </a:lnTo>
                  <a:lnTo>
                    <a:pt x="84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6" y="456"/>
                  </a:lnTo>
                  <a:lnTo>
                    <a:pt x="63" y="450"/>
                  </a:lnTo>
                  <a:lnTo>
                    <a:pt x="61" y="443"/>
                  </a:lnTo>
                  <a:lnTo>
                    <a:pt x="59" y="437"/>
                  </a:lnTo>
                  <a:lnTo>
                    <a:pt x="58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0"/>
                  </a:lnTo>
                  <a:lnTo>
                    <a:pt x="2" y="80"/>
                  </a:lnTo>
                  <a:lnTo>
                    <a:pt x="4" y="70"/>
                  </a:lnTo>
                  <a:lnTo>
                    <a:pt x="7" y="61"/>
                  </a:lnTo>
                  <a:lnTo>
                    <a:pt x="13" y="53"/>
                  </a:lnTo>
                  <a:lnTo>
                    <a:pt x="17" y="45"/>
                  </a:lnTo>
                  <a:lnTo>
                    <a:pt x="23" y="36"/>
                  </a:lnTo>
                  <a:lnTo>
                    <a:pt x="29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99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687">
              <a:extLst>
                <a:ext uri="{FF2B5EF4-FFF2-40B4-BE49-F238E27FC236}">
                  <a16:creationId xmlns:a16="http://schemas.microsoft.com/office/drawing/2014/main" id="{2F8B3FF6-344D-4389-87D5-267CD05F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688">
              <a:extLst>
                <a:ext uri="{FF2B5EF4-FFF2-40B4-BE49-F238E27FC236}">
                  <a16:creationId xmlns:a16="http://schemas.microsoft.com/office/drawing/2014/main" id="{648884FE-3667-4FBE-953E-0D0FF481B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689">
              <a:extLst>
                <a:ext uri="{FF2B5EF4-FFF2-40B4-BE49-F238E27FC236}">
                  <a16:creationId xmlns:a16="http://schemas.microsoft.com/office/drawing/2014/main" id="{52523412-0AFC-45CD-B864-64DD864A2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690">
              <a:extLst>
                <a:ext uri="{FF2B5EF4-FFF2-40B4-BE49-F238E27FC236}">
                  <a16:creationId xmlns:a16="http://schemas.microsoft.com/office/drawing/2014/main" id="{7E6E690C-46EB-4313-BB52-AE8B6E0A3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691">
              <a:extLst>
                <a:ext uri="{FF2B5EF4-FFF2-40B4-BE49-F238E27FC236}">
                  <a16:creationId xmlns:a16="http://schemas.microsoft.com/office/drawing/2014/main" id="{13E2A0CC-B79E-4419-AB62-78CFCD482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692">
              <a:extLst>
                <a:ext uri="{FF2B5EF4-FFF2-40B4-BE49-F238E27FC236}">
                  <a16:creationId xmlns:a16="http://schemas.microsoft.com/office/drawing/2014/main" id="{70A60CB2-3373-4EF7-8C71-896E9BE66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693">
              <a:extLst>
                <a:ext uri="{FF2B5EF4-FFF2-40B4-BE49-F238E27FC236}">
                  <a16:creationId xmlns:a16="http://schemas.microsoft.com/office/drawing/2014/main" id="{053377D1-86C5-4869-932F-8176D30FA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694">
              <a:extLst>
                <a:ext uri="{FF2B5EF4-FFF2-40B4-BE49-F238E27FC236}">
                  <a16:creationId xmlns:a16="http://schemas.microsoft.com/office/drawing/2014/main" id="{69F90424-AACB-4FC8-85BC-BF9CA9D96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695">
              <a:extLst>
                <a:ext uri="{FF2B5EF4-FFF2-40B4-BE49-F238E27FC236}">
                  <a16:creationId xmlns:a16="http://schemas.microsoft.com/office/drawing/2014/main" id="{6E78963C-BC03-446C-AE81-9AFA87034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696">
              <a:extLst>
                <a:ext uri="{FF2B5EF4-FFF2-40B4-BE49-F238E27FC236}">
                  <a16:creationId xmlns:a16="http://schemas.microsoft.com/office/drawing/2014/main" id="{5818BE34-F222-4384-82CF-9CC20805C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697">
              <a:extLst>
                <a:ext uri="{FF2B5EF4-FFF2-40B4-BE49-F238E27FC236}">
                  <a16:creationId xmlns:a16="http://schemas.microsoft.com/office/drawing/2014/main" id="{315DD405-EC2F-4A5D-9668-61062CFA6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698">
              <a:extLst>
                <a:ext uri="{FF2B5EF4-FFF2-40B4-BE49-F238E27FC236}">
                  <a16:creationId xmlns:a16="http://schemas.microsoft.com/office/drawing/2014/main" id="{F262FD6B-C528-4B14-AB00-E13089608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699">
              <a:extLst>
                <a:ext uri="{FF2B5EF4-FFF2-40B4-BE49-F238E27FC236}">
                  <a16:creationId xmlns:a16="http://schemas.microsoft.com/office/drawing/2014/main" id="{51FD6183-2591-4410-8457-CA9064E44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449" y="614"/>
                </a:cxn>
                <a:cxn ang="0">
                  <a:pos x="430" y="578"/>
                </a:cxn>
                <a:cxn ang="0">
                  <a:pos x="443" y="547"/>
                </a:cxn>
                <a:cxn ang="0">
                  <a:pos x="474" y="534"/>
                </a:cxn>
                <a:cxn ang="0">
                  <a:pos x="510" y="553"/>
                </a:cxn>
                <a:cxn ang="0">
                  <a:pos x="516" y="586"/>
                </a:cxn>
                <a:cxn ang="0">
                  <a:pos x="490" y="618"/>
                </a:cxn>
                <a:cxn ang="0">
                  <a:pos x="1126" y="0"/>
                </a:cxn>
                <a:cxn ang="0">
                  <a:pos x="932" y="25"/>
                </a:cxn>
                <a:cxn ang="0">
                  <a:pos x="753" y="81"/>
                </a:cxn>
                <a:cxn ang="0">
                  <a:pos x="594" y="166"/>
                </a:cxn>
                <a:cxn ang="0">
                  <a:pos x="460" y="275"/>
                </a:cxn>
                <a:cxn ang="0">
                  <a:pos x="355" y="405"/>
                </a:cxn>
                <a:cxn ang="0">
                  <a:pos x="283" y="551"/>
                </a:cxn>
                <a:cxn ang="0">
                  <a:pos x="59" y="584"/>
                </a:cxn>
                <a:cxn ang="0">
                  <a:pos x="27" y="600"/>
                </a:cxn>
                <a:cxn ang="0">
                  <a:pos x="6" y="627"/>
                </a:cxn>
                <a:cxn ang="0">
                  <a:pos x="0" y="764"/>
                </a:cxn>
                <a:cxn ang="0">
                  <a:pos x="3" y="926"/>
                </a:cxn>
                <a:cxn ang="0">
                  <a:pos x="32" y="970"/>
                </a:cxn>
                <a:cxn ang="0">
                  <a:pos x="65" y="989"/>
                </a:cxn>
                <a:cxn ang="0">
                  <a:pos x="315" y="1055"/>
                </a:cxn>
                <a:cxn ang="0">
                  <a:pos x="363" y="1136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38" y="1231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7" y="1299"/>
                </a:cxn>
                <a:cxn ang="0">
                  <a:pos x="564" y="1254"/>
                </a:cxn>
                <a:cxn ang="0">
                  <a:pos x="599" y="1222"/>
                </a:cxn>
                <a:cxn ang="0">
                  <a:pos x="646" y="1209"/>
                </a:cxn>
                <a:cxn ang="0">
                  <a:pos x="862" y="1215"/>
                </a:cxn>
                <a:cxn ang="0">
                  <a:pos x="904" y="1239"/>
                </a:cxn>
                <a:cxn ang="0">
                  <a:pos x="928" y="127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1010" y="1518"/>
                </a:cxn>
                <a:cxn ang="0">
                  <a:pos x="1029" y="1521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24" y="1528"/>
                </a:cxn>
                <a:cxn ang="0">
                  <a:pos x="1146" y="1529"/>
                </a:cxn>
                <a:cxn ang="0">
                  <a:pos x="1134" y="133"/>
                </a:cxn>
                <a:cxn ang="0">
                  <a:pos x="973" y="151"/>
                </a:cxn>
                <a:cxn ang="0">
                  <a:pos x="903" y="168"/>
                </a:cxn>
                <a:cxn ang="0">
                  <a:pos x="881" y="159"/>
                </a:cxn>
                <a:cxn ang="0">
                  <a:pos x="873" y="140"/>
                </a:cxn>
                <a:cxn ang="0">
                  <a:pos x="884" y="115"/>
                </a:cxn>
                <a:cxn ang="0">
                  <a:pos x="961" y="94"/>
                </a:cxn>
                <a:cxn ang="0">
                  <a:pos x="1132" y="74"/>
                </a:cxn>
              </a:cxnLst>
              <a:rect l="0" t="0" r="r" b="b"/>
              <a:pathLst>
                <a:path w="1166" h="1632">
                  <a:moveTo>
                    <a:pt x="474" y="621"/>
                  </a:moveTo>
                  <a:lnTo>
                    <a:pt x="474" y="621"/>
                  </a:lnTo>
                  <a:lnTo>
                    <a:pt x="465" y="620"/>
                  </a:lnTo>
                  <a:lnTo>
                    <a:pt x="456" y="618"/>
                  </a:lnTo>
                  <a:lnTo>
                    <a:pt x="449" y="614"/>
                  </a:lnTo>
                  <a:lnTo>
                    <a:pt x="443" y="609"/>
                  </a:lnTo>
                  <a:lnTo>
                    <a:pt x="438" y="602"/>
                  </a:lnTo>
                  <a:lnTo>
                    <a:pt x="434" y="594"/>
                  </a:lnTo>
                  <a:lnTo>
                    <a:pt x="431" y="586"/>
                  </a:lnTo>
                  <a:lnTo>
                    <a:pt x="430" y="578"/>
                  </a:lnTo>
                  <a:lnTo>
                    <a:pt x="430" y="578"/>
                  </a:lnTo>
                  <a:lnTo>
                    <a:pt x="431" y="569"/>
                  </a:lnTo>
                  <a:lnTo>
                    <a:pt x="434" y="560"/>
                  </a:lnTo>
                  <a:lnTo>
                    <a:pt x="438" y="553"/>
                  </a:lnTo>
                  <a:lnTo>
                    <a:pt x="443" y="547"/>
                  </a:lnTo>
                  <a:lnTo>
                    <a:pt x="449" y="542"/>
                  </a:lnTo>
                  <a:lnTo>
                    <a:pt x="456" y="538"/>
                  </a:lnTo>
                  <a:lnTo>
                    <a:pt x="465" y="535"/>
                  </a:lnTo>
                  <a:lnTo>
                    <a:pt x="474" y="534"/>
                  </a:lnTo>
                  <a:lnTo>
                    <a:pt x="474" y="534"/>
                  </a:lnTo>
                  <a:lnTo>
                    <a:pt x="482" y="535"/>
                  </a:lnTo>
                  <a:lnTo>
                    <a:pt x="490" y="538"/>
                  </a:lnTo>
                  <a:lnTo>
                    <a:pt x="499" y="542"/>
                  </a:lnTo>
                  <a:lnTo>
                    <a:pt x="505" y="547"/>
                  </a:lnTo>
                  <a:lnTo>
                    <a:pt x="510" y="553"/>
                  </a:lnTo>
                  <a:lnTo>
                    <a:pt x="514" y="560"/>
                  </a:lnTo>
                  <a:lnTo>
                    <a:pt x="516" y="569"/>
                  </a:lnTo>
                  <a:lnTo>
                    <a:pt x="517" y="578"/>
                  </a:lnTo>
                  <a:lnTo>
                    <a:pt x="517" y="578"/>
                  </a:lnTo>
                  <a:lnTo>
                    <a:pt x="516" y="586"/>
                  </a:lnTo>
                  <a:lnTo>
                    <a:pt x="514" y="594"/>
                  </a:lnTo>
                  <a:lnTo>
                    <a:pt x="510" y="602"/>
                  </a:lnTo>
                  <a:lnTo>
                    <a:pt x="505" y="609"/>
                  </a:lnTo>
                  <a:lnTo>
                    <a:pt x="499" y="614"/>
                  </a:lnTo>
                  <a:lnTo>
                    <a:pt x="490" y="618"/>
                  </a:lnTo>
                  <a:lnTo>
                    <a:pt x="482" y="620"/>
                  </a:lnTo>
                  <a:lnTo>
                    <a:pt x="474" y="621"/>
                  </a:lnTo>
                  <a:close/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700">
              <a:extLst>
                <a:ext uri="{FF2B5EF4-FFF2-40B4-BE49-F238E27FC236}">
                  <a16:creationId xmlns:a16="http://schemas.microsoft.com/office/drawing/2014/main" id="{EE1668C3-0AAB-46B7-ABB1-83DA5237B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</a:cxnLst>
              <a:rect l="0" t="0" r="r" b="b"/>
              <a:pathLst>
                <a:path w="87" h="87">
                  <a:moveTo>
                    <a:pt x="44" y="87"/>
                  </a:move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701">
              <a:extLst>
                <a:ext uri="{FF2B5EF4-FFF2-40B4-BE49-F238E27FC236}">
                  <a16:creationId xmlns:a16="http://schemas.microsoft.com/office/drawing/2014/main" id="{1AD11CAA-834E-4916-87D5-56EC0A345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1087" y="3"/>
                </a:cxn>
                <a:cxn ang="0">
                  <a:pos x="932" y="25"/>
                </a:cxn>
                <a:cxn ang="0">
                  <a:pos x="787" y="68"/>
                </a:cxn>
                <a:cxn ang="0">
                  <a:pos x="655" y="129"/>
                </a:cxn>
                <a:cxn ang="0">
                  <a:pos x="538" y="207"/>
                </a:cxn>
                <a:cxn ang="0">
                  <a:pos x="437" y="299"/>
                </a:cxn>
                <a:cxn ang="0">
                  <a:pos x="355" y="405"/>
                </a:cxn>
                <a:cxn ang="0">
                  <a:pos x="295" y="521"/>
                </a:cxn>
                <a:cxn ang="0">
                  <a:pos x="73" y="583"/>
                </a:cxn>
                <a:cxn ang="0">
                  <a:pos x="45" y="588"/>
                </a:cxn>
                <a:cxn ang="0">
                  <a:pos x="21" y="605"/>
                </a:cxn>
                <a:cxn ang="0">
                  <a:pos x="6" y="627"/>
                </a:cxn>
                <a:cxn ang="0">
                  <a:pos x="0" y="656"/>
                </a:cxn>
                <a:cxn ang="0">
                  <a:pos x="1" y="912"/>
                </a:cxn>
                <a:cxn ang="0">
                  <a:pos x="9" y="941"/>
                </a:cxn>
                <a:cxn ang="0">
                  <a:pos x="38" y="976"/>
                </a:cxn>
                <a:cxn ang="0">
                  <a:pos x="65" y="989"/>
                </a:cxn>
                <a:cxn ang="0">
                  <a:pos x="315" y="1054"/>
                </a:cxn>
                <a:cxn ang="0">
                  <a:pos x="338" y="1096"/>
                </a:cxn>
                <a:cxn ang="0">
                  <a:pos x="364" y="1137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23" y="1216"/>
                </a:cxn>
                <a:cxn ang="0">
                  <a:pos x="440" y="1233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6" y="1309"/>
                </a:cxn>
                <a:cxn ang="0">
                  <a:pos x="554" y="1270"/>
                </a:cxn>
                <a:cxn ang="0">
                  <a:pos x="576" y="1239"/>
                </a:cxn>
                <a:cxn ang="0">
                  <a:pos x="607" y="1218"/>
                </a:cxn>
                <a:cxn ang="0">
                  <a:pos x="646" y="1209"/>
                </a:cxn>
                <a:cxn ang="0">
                  <a:pos x="853" y="1211"/>
                </a:cxn>
                <a:cxn ang="0">
                  <a:pos x="889" y="1227"/>
                </a:cxn>
                <a:cxn ang="0">
                  <a:pos x="916" y="1254"/>
                </a:cxn>
                <a:cxn ang="0">
                  <a:pos x="930" y="128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998" y="1516"/>
                </a:cxn>
                <a:cxn ang="0">
                  <a:pos x="1019" y="1520"/>
                </a:cxn>
                <a:cxn ang="0">
                  <a:pos x="1048" y="1523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17" y="1528"/>
                </a:cxn>
                <a:cxn ang="0">
                  <a:pos x="1140" y="1529"/>
                </a:cxn>
                <a:cxn ang="0">
                  <a:pos x="1166" y="1529"/>
                </a:cxn>
                <a:cxn ang="0">
                  <a:pos x="1134" y="133"/>
                </a:cxn>
                <a:cxn ang="0">
                  <a:pos x="1005" y="145"/>
                </a:cxn>
                <a:cxn ang="0">
                  <a:pos x="911" y="167"/>
                </a:cxn>
                <a:cxn ang="0">
                  <a:pos x="893" y="166"/>
                </a:cxn>
                <a:cxn ang="0">
                  <a:pos x="878" y="155"/>
                </a:cxn>
                <a:cxn ang="0">
                  <a:pos x="873" y="140"/>
                </a:cxn>
                <a:cxn ang="0">
                  <a:pos x="880" y="120"/>
                </a:cxn>
                <a:cxn ang="0">
                  <a:pos x="894" y="110"/>
                </a:cxn>
                <a:cxn ang="0">
                  <a:pos x="1028" y="82"/>
                </a:cxn>
                <a:cxn ang="0">
                  <a:pos x="1166" y="73"/>
                </a:cxn>
              </a:cxnLst>
              <a:rect l="0" t="0" r="r" b="b"/>
              <a:pathLst>
                <a:path w="1166" h="1632"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702">
              <a:extLst>
                <a:ext uri="{FF2B5EF4-FFF2-40B4-BE49-F238E27FC236}">
                  <a16:creationId xmlns:a16="http://schemas.microsoft.com/office/drawing/2014/main" id="{250547DE-96C6-4E41-BD4B-E2F51F576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703">
              <a:extLst>
                <a:ext uri="{FF2B5EF4-FFF2-40B4-BE49-F238E27FC236}">
                  <a16:creationId xmlns:a16="http://schemas.microsoft.com/office/drawing/2014/main" id="{18AF6D95-1D2F-4FBC-9E55-D0E8BC3DC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704">
              <a:extLst>
                <a:ext uri="{FF2B5EF4-FFF2-40B4-BE49-F238E27FC236}">
                  <a16:creationId xmlns:a16="http://schemas.microsoft.com/office/drawing/2014/main" id="{05B50A11-2788-4759-9335-D7EBA0A6D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705">
              <a:extLst>
                <a:ext uri="{FF2B5EF4-FFF2-40B4-BE49-F238E27FC236}">
                  <a16:creationId xmlns:a16="http://schemas.microsoft.com/office/drawing/2014/main" id="{53C4DBA0-3B25-4FD0-AEA4-1AE7A5D9E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706">
              <a:extLst>
                <a:ext uri="{FF2B5EF4-FFF2-40B4-BE49-F238E27FC236}">
                  <a16:creationId xmlns:a16="http://schemas.microsoft.com/office/drawing/2014/main" id="{69D44CCC-1A48-42E6-91FB-AEC1CBD4D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707">
              <a:extLst>
                <a:ext uri="{FF2B5EF4-FFF2-40B4-BE49-F238E27FC236}">
                  <a16:creationId xmlns:a16="http://schemas.microsoft.com/office/drawing/2014/main" id="{18E601D8-3B0C-4D0D-9B8A-0DEA82B28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708">
              <a:extLst>
                <a:ext uri="{FF2B5EF4-FFF2-40B4-BE49-F238E27FC236}">
                  <a16:creationId xmlns:a16="http://schemas.microsoft.com/office/drawing/2014/main" id="{22A4F4CF-025E-41D8-8BDF-4B33767B9D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5205413"/>
              <a:ext cx="1588" cy="112713"/>
            </a:xfrm>
            <a:custGeom>
              <a:avLst/>
              <a:gdLst/>
              <a:ahLst/>
              <a:cxnLst>
                <a:cxn ang="0">
                  <a:pos x="1" y="562"/>
                </a:cxn>
                <a:cxn ang="0">
                  <a:pos x="1" y="562"/>
                </a:cxn>
                <a:cxn ang="0">
                  <a:pos x="0" y="562"/>
                </a:cxn>
                <a:cxn ang="0">
                  <a:pos x="0" y="562"/>
                </a:cxn>
                <a:cxn ang="0">
                  <a:pos x="1" y="56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62">
                  <a:moveTo>
                    <a:pt x="1" y="562"/>
                  </a:moveTo>
                  <a:lnTo>
                    <a:pt x="1" y="562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6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709">
              <a:extLst>
                <a:ext uri="{FF2B5EF4-FFF2-40B4-BE49-F238E27FC236}">
                  <a16:creationId xmlns:a16="http://schemas.microsoft.com/office/drawing/2014/main" id="{96DE3ED4-1FBA-499A-9C1B-F8A6378D9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318125"/>
              <a:ext cx="1588" cy="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710">
              <a:extLst>
                <a:ext uri="{FF2B5EF4-FFF2-40B4-BE49-F238E27FC236}">
                  <a16:creationId xmlns:a16="http://schemas.microsoft.com/office/drawing/2014/main" id="{59EBFC45-3165-4F40-AC80-220A08922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520541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711">
              <a:extLst>
                <a:ext uri="{FF2B5EF4-FFF2-40B4-BE49-F238E27FC236}">
                  <a16:creationId xmlns:a16="http://schemas.microsoft.com/office/drawing/2014/main" id="{53424AEE-547A-47C8-92BB-C9D61757F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6026" y="5205413"/>
              <a:ext cx="1588" cy="112713"/>
            </a:xfrm>
            <a:custGeom>
              <a:avLst/>
              <a:gdLst/>
              <a:ahLst/>
              <a:cxnLst>
                <a:cxn ang="0">
                  <a:pos x="4" y="561"/>
                </a:cxn>
                <a:cxn ang="0">
                  <a:pos x="4" y="561"/>
                </a:cxn>
                <a:cxn ang="0">
                  <a:pos x="0" y="561"/>
                </a:cxn>
                <a:cxn ang="0">
                  <a:pos x="0" y="561"/>
                </a:cxn>
                <a:cxn ang="0">
                  <a:pos x="4" y="562"/>
                </a:cxn>
                <a:cxn ang="0">
                  <a:pos x="4" y="561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562">
                  <a:moveTo>
                    <a:pt x="4" y="561"/>
                  </a:moveTo>
                  <a:lnTo>
                    <a:pt x="4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4" y="562"/>
                  </a:lnTo>
                  <a:lnTo>
                    <a:pt x="4" y="56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712">
              <a:extLst>
                <a:ext uri="{FF2B5EF4-FFF2-40B4-BE49-F238E27FC236}">
                  <a16:creationId xmlns:a16="http://schemas.microsoft.com/office/drawing/2014/main" id="{6E7136F3-28B6-4240-98B2-4465D8EEF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316538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713">
              <a:extLst>
                <a:ext uri="{FF2B5EF4-FFF2-40B4-BE49-F238E27FC236}">
                  <a16:creationId xmlns:a16="http://schemas.microsoft.com/office/drawing/2014/main" id="{E6D40E3B-155C-4FDB-AA70-2BDEA793F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205413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714">
              <a:extLst>
                <a:ext uri="{FF2B5EF4-FFF2-40B4-BE49-F238E27FC236}">
                  <a16:creationId xmlns:a16="http://schemas.microsoft.com/office/drawing/2014/main" id="{E08A8D8F-D552-4013-916F-C06921266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715">
              <a:extLst>
                <a:ext uri="{FF2B5EF4-FFF2-40B4-BE49-F238E27FC236}">
                  <a16:creationId xmlns:a16="http://schemas.microsoft.com/office/drawing/2014/main" id="{AAD2BF4D-54A5-4C1E-B3AF-818F72491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716">
              <a:extLst>
                <a:ext uri="{FF2B5EF4-FFF2-40B4-BE49-F238E27FC236}">
                  <a16:creationId xmlns:a16="http://schemas.microsoft.com/office/drawing/2014/main" id="{93AD8357-5DF0-4D90-AB1A-22E4A31FC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717">
              <a:extLst>
                <a:ext uri="{FF2B5EF4-FFF2-40B4-BE49-F238E27FC236}">
                  <a16:creationId xmlns:a16="http://schemas.microsoft.com/office/drawing/2014/main" id="{037571D2-77B3-4533-9247-118335D64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718">
              <a:extLst>
                <a:ext uri="{FF2B5EF4-FFF2-40B4-BE49-F238E27FC236}">
                  <a16:creationId xmlns:a16="http://schemas.microsoft.com/office/drawing/2014/main" id="{17F184D8-E556-41AB-868E-3B7335943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719">
              <a:extLst>
                <a:ext uri="{FF2B5EF4-FFF2-40B4-BE49-F238E27FC236}">
                  <a16:creationId xmlns:a16="http://schemas.microsoft.com/office/drawing/2014/main" id="{6D3E0F98-5630-41FB-808B-9D4DDB6E2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85570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0F77D7-121E-43DD-B28A-BBE2BA2B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FB7E58-18AE-4179-B44B-D28FB3CF73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3200" b="0"/>
              <a:t>CUSTOMER PROFILE</a:t>
            </a:r>
          </a:p>
        </p:txBody>
      </p:sp>
      <p:pic>
        <p:nvPicPr>
          <p:cNvPr id="32772" name="Picture 4" descr="Free stock photo of adult, beer, child">
            <a:extLst>
              <a:ext uri="{FF2B5EF4-FFF2-40B4-BE49-F238E27FC236}">
                <a16:creationId xmlns:a16="http://schemas.microsoft.com/office/drawing/2014/main" id="{9AACFD7B-D453-423D-BCA9-6276BDA4A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1158503"/>
            <a:ext cx="2355524" cy="3191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CC8365B-B0D0-4316-90D9-71BB8A4A0556}"/>
              </a:ext>
            </a:extLst>
          </p:cNvPr>
          <p:cNvSpPr/>
          <p:nvPr/>
        </p:nvSpPr>
        <p:spPr>
          <a:xfrm>
            <a:off x="695325" y="4350282"/>
            <a:ext cx="2355524" cy="196569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600" b="1">
                <a:solidFill>
                  <a:schemeClr val="tx2"/>
                </a:solidFill>
              </a:rPr>
              <a:t>THE WINE-EXPERT</a:t>
            </a:r>
          </a:p>
          <a:p>
            <a:pPr>
              <a:lnSpc>
                <a:spcPct val="150000"/>
              </a:lnSpc>
            </a:pPr>
            <a:r>
              <a:rPr lang="en-US" sz="1200" b="1" i="1">
                <a:solidFill>
                  <a:schemeClr val="bg1"/>
                </a:solidFill>
              </a:rPr>
              <a:t>Median Age</a:t>
            </a:r>
            <a:r>
              <a:rPr lang="en-US" sz="1200" i="1">
                <a:solidFill>
                  <a:schemeClr val="bg1"/>
                </a:solidFill>
              </a:rPr>
              <a:t>: </a:t>
            </a:r>
            <a:r>
              <a:rPr lang="en-US" sz="1200" b="1" i="1">
                <a:solidFill>
                  <a:schemeClr val="bg1"/>
                </a:solidFill>
              </a:rPr>
              <a:t>67</a:t>
            </a:r>
            <a:endParaRPr lang="en-US" sz="1200" i="1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b="1" i="1">
                <a:solidFill>
                  <a:schemeClr val="bg1"/>
                </a:solidFill>
              </a:rPr>
              <a:t>Median Income</a:t>
            </a:r>
            <a:r>
              <a:rPr lang="en-US" sz="1200" i="1">
                <a:solidFill>
                  <a:schemeClr val="bg1"/>
                </a:solidFill>
              </a:rPr>
              <a:t>: </a:t>
            </a:r>
            <a:r>
              <a:rPr lang="en-US" sz="1200" b="1" i="1">
                <a:solidFill>
                  <a:schemeClr val="bg1"/>
                </a:solidFill>
              </a:rPr>
              <a:t>$ 99k</a:t>
            </a:r>
            <a:endParaRPr lang="en-US" sz="1200" i="1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 b="1" i="1">
                <a:solidFill>
                  <a:schemeClr val="bg1"/>
                </a:solidFill>
              </a:rPr>
              <a:t>Average education: 17 years</a:t>
            </a:r>
          </a:p>
          <a:p>
            <a:pPr>
              <a:lnSpc>
                <a:spcPct val="150000"/>
              </a:lnSpc>
            </a:pPr>
            <a:endParaRPr lang="en-US" sz="1400" i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8F7E5D-3195-4ACE-B17B-99F6A62CCA00}"/>
              </a:ext>
            </a:extLst>
          </p:cNvPr>
          <p:cNvSpPr/>
          <p:nvPr/>
        </p:nvSpPr>
        <p:spPr>
          <a:xfrm>
            <a:off x="3213357" y="1132864"/>
            <a:ext cx="2870442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>
              <a:buClr>
                <a:schemeClr val="tx2"/>
              </a:buClr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B1C482-8FFF-4C71-BB3D-E92AEA0E957E}"/>
              </a:ext>
            </a:extLst>
          </p:cNvPr>
          <p:cNvSpPr/>
          <p:nvPr/>
        </p:nvSpPr>
        <p:spPr>
          <a:xfrm>
            <a:off x="3304611" y="1006864"/>
            <a:ext cx="1425715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Favorite win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EEDC8E-6C36-4094-8441-310D0DD5E65B}"/>
              </a:ext>
            </a:extLst>
          </p:cNvPr>
          <p:cNvSpPr txBox="1"/>
          <p:nvPr/>
        </p:nvSpPr>
        <p:spPr>
          <a:xfrm>
            <a:off x="3236955" y="1279340"/>
            <a:ext cx="109120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ry red win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179A47-A339-4928-91B8-05575EFFC243}"/>
              </a:ext>
            </a:extLst>
          </p:cNvPr>
          <p:cNvSpPr txBox="1"/>
          <p:nvPr/>
        </p:nvSpPr>
        <p:spPr>
          <a:xfrm>
            <a:off x="3227357" y="1583196"/>
            <a:ext cx="123814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ry white win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6053EF-917D-40BB-908F-80B5BF7EE0AA}"/>
              </a:ext>
            </a:extLst>
          </p:cNvPr>
          <p:cNvSpPr txBox="1"/>
          <p:nvPr/>
        </p:nvSpPr>
        <p:spPr>
          <a:xfrm>
            <a:off x="3242342" y="1887052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Sweet / </a:t>
            </a:r>
            <a:r>
              <a:rPr lang="en-US" sz="1000"/>
              <a:t>S</a:t>
            </a:r>
            <a:r>
              <a:rPr lang="en-US" sz="1000">
                <a:solidFill>
                  <a:schemeClr val="tx1"/>
                </a:solidFill>
              </a:rPr>
              <a:t>emi-dry reds w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0FBD6D-FBFF-4C5C-A21D-924050F061CD}"/>
              </a:ext>
            </a:extLst>
          </p:cNvPr>
          <p:cNvSpPr txBox="1"/>
          <p:nvPr/>
        </p:nvSpPr>
        <p:spPr>
          <a:xfrm>
            <a:off x="3235597" y="2283837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Sweet / Semi-dry white wine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B3D7A4-C567-4588-97F3-EFE1C568AD8A}"/>
              </a:ext>
            </a:extLst>
          </p:cNvPr>
          <p:cNvSpPr txBox="1"/>
          <p:nvPr/>
        </p:nvSpPr>
        <p:spPr>
          <a:xfrm>
            <a:off x="3242342" y="2726342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essert win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5505D95-984D-4B3E-99F1-B670B0E48335}"/>
              </a:ext>
            </a:extLst>
          </p:cNvPr>
          <p:cNvSpPr txBox="1"/>
          <p:nvPr/>
        </p:nvSpPr>
        <p:spPr>
          <a:xfrm>
            <a:off x="3236955" y="3083540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Unusual wines</a:t>
            </a:r>
          </a:p>
        </p:txBody>
      </p:sp>
      <p:grpSp>
        <p:nvGrpSpPr>
          <p:cNvPr id="32768" name="Group 32767">
            <a:extLst>
              <a:ext uri="{FF2B5EF4-FFF2-40B4-BE49-F238E27FC236}">
                <a16:creationId xmlns:a16="http://schemas.microsoft.com/office/drawing/2014/main" id="{B19C19F8-67DA-4B54-966E-7D22E6365582}"/>
              </a:ext>
            </a:extLst>
          </p:cNvPr>
          <p:cNvGrpSpPr/>
          <p:nvPr/>
        </p:nvGrpSpPr>
        <p:grpSpPr>
          <a:xfrm>
            <a:off x="4327084" y="1605173"/>
            <a:ext cx="576003" cy="246221"/>
            <a:chOff x="6240538" y="2132963"/>
            <a:chExt cx="576003" cy="246221"/>
          </a:xfrm>
        </p:grpSpPr>
        <p:pic>
          <p:nvPicPr>
            <p:cNvPr id="65" name="Graphic 64" descr="Bottle">
              <a:extLst>
                <a:ext uri="{FF2B5EF4-FFF2-40B4-BE49-F238E27FC236}">
                  <a16:creationId xmlns:a16="http://schemas.microsoft.com/office/drawing/2014/main" id="{2546D82B-22F3-4E7E-A359-ABFCBB403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40538" y="2132963"/>
              <a:ext cx="246221" cy="246221"/>
            </a:xfrm>
            <a:prstGeom prst="rect">
              <a:avLst/>
            </a:prstGeom>
          </p:spPr>
        </p:pic>
        <p:pic>
          <p:nvPicPr>
            <p:cNvPr id="66" name="Graphic 65" descr="Bottle">
              <a:extLst>
                <a:ext uri="{FF2B5EF4-FFF2-40B4-BE49-F238E27FC236}">
                  <a16:creationId xmlns:a16="http://schemas.microsoft.com/office/drawing/2014/main" id="{79A1B689-2B09-4F87-BD3F-B2399A9AB1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05429" y="2132963"/>
              <a:ext cx="246221" cy="246221"/>
            </a:xfrm>
            <a:prstGeom prst="rect">
              <a:avLst/>
            </a:prstGeom>
          </p:spPr>
        </p:pic>
        <p:pic>
          <p:nvPicPr>
            <p:cNvPr id="67" name="Graphic 66" descr="Bottle">
              <a:extLst>
                <a:ext uri="{FF2B5EF4-FFF2-40B4-BE49-F238E27FC236}">
                  <a16:creationId xmlns:a16="http://schemas.microsoft.com/office/drawing/2014/main" id="{6C4798F9-1E5E-4577-89A7-9B373321A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70320" y="2132963"/>
              <a:ext cx="246221" cy="246221"/>
            </a:xfrm>
            <a:prstGeom prst="rect">
              <a:avLst/>
            </a:prstGeom>
          </p:spPr>
        </p:pic>
      </p:grpSp>
      <p:pic>
        <p:nvPicPr>
          <p:cNvPr id="88" name="Graphic 87" descr="Bottle">
            <a:extLst>
              <a:ext uri="{FF2B5EF4-FFF2-40B4-BE49-F238E27FC236}">
                <a16:creationId xmlns:a16="http://schemas.microsoft.com/office/drawing/2014/main" id="{5F0B599F-5E73-4980-95F3-9B3029977E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593" y="2345435"/>
            <a:ext cx="246221" cy="246221"/>
          </a:xfrm>
          <a:prstGeom prst="rect">
            <a:avLst/>
          </a:prstGeom>
        </p:spPr>
      </p:pic>
      <p:pic>
        <p:nvPicPr>
          <p:cNvPr id="121" name="Graphic 120" descr="Bottle">
            <a:extLst>
              <a:ext uri="{FF2B5EF4-FFF2-40B4-BE49-F238E27FC236}">
                <a16:creationId xmlns:a16="http://schemas.microsoft.com/office/drawing/2014/main" id="{951D42AC-CF76-4072-89B4-57DC825E5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5847" y="2734616"/>
            <a:ext cx="246221" cy="246221"/>
          </a:xfrm>
          <a:prstGeom prst="rect">
            <a:avLst/>
          </a:prstGeom>
        </p:spPr>
      </p:pic>
      <p:pic>
        <p:nvPicPr>
          <p:cNvPr id="143" name="Graphic 142" descr="Bottle">
            <a:extLst>
              <a:ext uri="{FF2B5EF4-FFF2-40B4-BE49-F238E27FC236}">
                <a16:creationId xmlns:a16="http://schemas.microsoft.com/office/drawing/2014/main" id="{C6FD19B6-A3A3-4DC4-93CB-32296FCC6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7084" y="1963874"/>
            <a:ext cx="246221" cy="246221"/>
          </a:xfrm>
          <a:prstGeom prst="rect">
            <a:avLst/>
          </a:prstGeom>
        </p:spPr>
      </p:pic>
      <p:sp>
        <p:nvSpPr>
          <p:cNvPr id="186" name="Rectangle 185">
            <a:extLst>
              <a:ext uri="{FF2B5EF4-FFF2-40B4-BE49-F238E27FC236}">
                <a16:creationId xmlns:a16="http://schemas.microsoft.com/office/drawing/2014/main" id="{31D25C63-7BC6-4FA8-8108-4AED78793EC3}"/>
              </a:ext>
            </a:extLst>
          </p:cNvPr>
          <p:cNvSpPr/>
          <p:nvPr/>
        </p:nvSpPr>
        <p:spPr>
          <a:xfrm>
            <a:off x="3202138" y="3721694"/>
            <a:ext cx="2886836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L="136525" indent="-136525"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1605E8A9-D018-4AAD-A059-41D6164C5BF4}"/>
              </a:ext>
            </a:extLst>
          </p:cNvPr>
          <p:cNvSpPr/>
          <p:nvPr/>
        </p:nvSpPr>
        <p:spPr>
          <a:xfrm>
            <a:off x="6303870" y="3720964"/>
            <a:ext cx="5507130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3087F629-5AA7-47D0-B834-C448E23765B6}"/>
              </a:ext>
            </a:extLst>
          </p:cNvPr>
          <p:cNvSpPr/>
          <p:nvPr/>
        </p:nvSpPr>
        <p:spPr>
          <a:xfrm>
            <a:off x="6307243" y="1139812"/>
            <a:ext cx="5507130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9A0CA7FB-4704-4D04-8603-717F87F1B46C}"/>
              </a:ext>
            </a:extLst>
          </p:cNvPr>
          <p:cNvSpPr/>
          <p:nvPr/>
        </p:nvSpPr>
        <p:spPr>
          <a:xfrm>
            <a:off x="6392703" y="1036684"/>
            <a:ext cx="1268013" cy="23072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Profile Analysis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67E669FE-BA70-43BC-9C27-624133AE827B}"/>
              </a:ext>
            </a:extLst>
          </p:cNvPr>
          <p:cNvSpPr/>
          <p:nvPr/>
        </p:nvSpPr>
        <p:spPr>
          <a:xfrm>
            <a:off x="3278227" y="3616398"/>
            <a:ext cx="1879559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Key characteristics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0429BE2E-79F8-445A-8CCD-2029261844A4}"/>
              </a:ext>
            </a:extLst>
          </p:cNvPr>
          <p:cNvSpPr/>
          <p:nvPr/>
        </p:nvSpPr>
        <p:spPr>
          <a:xfrm>
            <a:off x="6389330" y="3606143"/>
            <a:ext cx="1811707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Marketing approach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2141AF-53E6-4692-BC5E-00B8A05D9D1B}"/>
              </a:ext>
            </a:extLst>
          </p:cNvPr>
          <p:cNvSpPr txBox="1"/>
          <p:nvPr/>
        </p:nvSpPr>
        <p:spPr>
          <a:xfrm>
            <a:off x="6389330" y="3972964"/>
            <a:ext cx="46779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>
                <a:solidFill>
                  <a:schemeClr val="tx1"/>
                </a:solidFill>
              </a:rPr>
              <a:t>Reach them by mail (no digital)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>
                <a:solidFill>
                  <a:schemeClr val="tx1"/>
                </a:solidFill>
              </a:rPr>
              <a:t>Loyalty card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>
                <a:solidFill>
                  <a:schemeClr val="tx1"/>
                </a:solidFill>
              </a:rPr>
              <a:t>Wine-tasting event for the VIP members</a:t>
            </a:r>
            <a:endParaRPr lang="en-US" sz="12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2884ED-221C-4B17-84A5-F9F246995096}"/>
              </a:ext>
            </a:extLst>
          </p:cNvPr>
          <p:cNvSpPr txBox="1"/>
          <p:nvPr/>
        </p:nvSpPr>
        <p:spPr>
          <a:xfrm>
            <a:off x="6519333" y="1430867"/>
            <a:ext cx="509693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Most recent purchase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Accessories interest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Not a web user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No discount intere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466547-1767-46C9-9E25-EB7C36D852BE}"/>
              </a:ext>
            </a:extLst>
          </p:cNvPr>
          <p:cNvSpPr txBox="1"/>
          <p:nvPr/>
        </p:nvSpPr>
        <p:spPr>
          <a:xfrm flipH="1">
            <a:off x="4017468" y="5540984"/>
            <a:ext cx="2252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1200" b="1">
                <a:solidFill>
                  <a:schemeClr val="tx1"/>
                </a:solidFill>
              </a:rPr>
              <a:t>Experience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6E5AFD83-E526-4FB4-89D4-1954F85FCB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459" y="3333423"/>
            <a:ext cx="1621464" cy="17107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163BB86-C311-410C-9EBA-9F8E73FF5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70704" y="5407652"/>
            <a:ext cx="559340" cy="65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7522A6-45AE-4EB0-BB91-A3F4AD49251F}"/>
              </a:ext>
            </a:extLst>
          </p:cNvPr>
          <p:cNvSpPr txBox="1"/>
          <p:nvPr/>
        </p:nvSpPr>
        <p:spPr>
          <a:xfrm>
            <a:off x="4040281" y="4096917"/>
            <a:ext cx="1593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err="1"/>
              <a:t>Loyality</a:t>
            </a:r>
            <a:endParaRPr lang="en-US" sz="12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7514E4-3029-492F-8348-94FF7FDFC65B}"/>
              </a:ext>
            </a:extLst>
          </p:cNvPr>
          <p:cNvSpPr txBox="1"/>
          <p:nvPr/>
        </p:nvSpPr>
        <p:spPr>
          <a:xfrm>
            <a:off x="4052461" y="4765989"/>
            <a:ext cx="1870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Variety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1D7FA074-7EA1-4227-96C1-FADD03B5CAD6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442" y="3986744"/>
            <a:ext cx="600375" cy="619804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070011B2-8E55-4C56-AD14-2020B01CE1F1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3606" y="4667863"/>
            <a:ext cx="520700" cy="63119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9" name="Group 108">
            <a:extLst>
              <a:ext uri="{FF2B5EF4-FFF2-40B4-BE49-F238E27FC236}">
                <a16:creationId xmlns:a16="http://schemas.microsoft.com/office/drawing/2014/main" id="{365EF7C3-5FB3-41DA-8903-3BB8828DAC16}"/>
              </a:ext>
            </a:extLst>
          </p:cNvPr>
          <p:cNvGrpSpPr/>
          <p:nvPr/>
        </p:nvGrpSpPr>
        <p:grpSpPr>
          <a:xfrm>
            <a:off x="4342171" y="1278702"/>
            <a:ext cx="740894" cy="246221"/>
            <a:chOff x="6240538" y="2132963"/>
            <a:chExt cx="740894" cy="246221"/>
          </a:xfrm>
        </p:grpSpPr>
        <p:pic>
          <p:nvPicPr>
            <p:cNvPr id="110" name="Graphic 109" descr="Bottle">
              <a:extLst>
                <a:ext uri="{FF2B5EF4-FFF2-40B4-BE49-F238E27FC236}">
                  <a16:creationId xmlns:a16="http://schemas.microsoft.com/office/drawing/2014/main" id="{04FC3237-49FA-4299-9D2C-CC59F0028A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40538" y="2132963"/>
              <a:ext cx="246221" cy="246221"/>
            </a:xfrm>
            <a:prstGeom prst="rect">
              <a:avLst/>
            </a:prstGeom>
          </p:spPr>
        </p:pic>
        <p:pic>
          <p:nvPicPr>
            <p:cNvPr id="111" name="Graphic 110" descr="Bottle">
              <a:extLst>
                <a:ext uri="{FF2B5EF4-FFF2-40B4-BE49-F238E27FC236}">
                  <a16:creationId xmlns:a16="http://schemas.microsoft.com/office/drawing/2014/main" id="{E1E1231C-073A-4CF8-925C-A52139F6F1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05429" y="2132963"/>
              <a:ext cx="246221" cy="246221"/>
            </a:xfrm>
            <a:prstGeom prst="rect">
              <a:avLst/>
            </a:prstGeom>
          </p:spPr>
        </p:pic>
        <p:pic>
          <p:nvPicPr>
            <p:cNvPr id="112" name="Graphic 111" descr="Bottle">
              <a:extLst>
                <a:ext uri="{FF2B5EF4-FFF2-40B4-BE49-F238E27FC236}">
                  <a16:creationId xmlns:a16="http://schemas.microsoft.com/office/drawing/2014/main" id="{74FFBDEF-7570-4553-B087-B5004E9CF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70320" y="2132963"/>
              <a:ext cx="246221" cy="246221"/>
            </a:xfrm>
            <a:prstGeom prst="rect">
              <a:avLst/>
            </a:prstGeom>
          </p:spPr>
        </p:pic>
        <p:pic>
          <p:nvPicPr>
            <p:cNvPr id="113" name="Graphic 112" descr="Bottle">
              <a:extLst>
                <a:ext uri="{FF2B5EF4-FFF2-40B4-BE49-F238E27FC236}">
                  <a16:creationId xmlns:a16="http://schemas.microsoft.com/office/drawing/2014/main" id="{C9654FB1-62BC-4A55-9BAC-E871B06F4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735211" y="2132963"/>
              <a:ext cx="246221" cy="2462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0287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0F77D7-121E-43DD-B28A-BBE2BA2B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FB7E58-18AE-4179-B44B-D28FB3CF73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3200" b="0" dirty="0"/>
              <a:t>CUSTOMER PRO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C8365B-B0D0-4316-90D9-71BB8A4A0556}"/>
              </a:ext>
            </a:extLst>
          </p:cNvPr>
          <p:cNvSpPr/>
          <p:nvPr/>
        </p:nvSpPr>
        <p:spPr>
          <a:xfrm>
            <a:off x="695325" y="4350282"/>
            <a:ext cx="2355524" cy="196569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1CE3B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WINE-EXPLOR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Median Ag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: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28</a:t>
            </a:r>
            <a:endParaRPr lang="en-US" sz="12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</a:endParaRPr>
          </a:p>
          <a:p>
            <a:pPr>
              <a:lnSpc>
                <a:spcPct val="150000"/>
              </a:lnSpc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Median Incom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: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$ 41k</a:t>
            </a:r>
            <a:r>
              <a:rPr lang="en-US" sz="1200" i="1" dirty="0">
                <a:latin typeface="Avenir Next LT Pro"/>
              </a:rPr>
              <a:t> </a:t>
            </a:r>
            <a:endParaRPr lang="en-US" sz="12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Average education</a:t>
            </a:r>
            <a:r>
              <a:rPr lang="en-US" sz="1200" b="1" i="1" dirty="0">
                <a:solidFill>
                  <a:schemeClr val="bg1"/>
                </a:solidFill>
              </a:rPr>
              <a:t>: 16 years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</a:endParaRPr>
          </a:p>
        </p:txBody>
      </p:sp>
      <p:pic>
        <p:nvPicPr>
          <p:cNvPr id="86" name="Picture 2" descr="Man and Woman Sitting on White Textile">
            <a:extLst>
              <a:ext uri="{FF2B5EF4-FFF2-40B4-BE49-F238E27FC236}">
                <a16:creationId xmlns:a16="http://schemas.microsoft.com/office/drawing/2014/main" id="{360C2F6C-888C-418A-A806-D62462963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86" y="1163483"/>
            <a:ext cx="2352639" cy="3186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68108E60-7AB9-4CE8-AB6E-EC655B71478D}"/>
              </a:ext>
            </a:extLst>
          </p:cNvPr>
          <p:cNvSpPr/>
          <p:nvPr/>
        </p:nvSpPr>
        <p:spPr>
          <a:xfrm>
            <a:off x="3213354" y="1132864"/>
            <a:ext cx="2870442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>
              <a:buClr>
                <a:schemeClr val="tx2"/>
              </a:buClr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352FEE8-EAB4-480B-9180-F1D0E5DDE4E3}"/>
              </a:ext>
            </a:extLst>
          </p:cNvPr>
          <p:cNvSpPr/>
          <p:nvPr/>
        </p:nvSpPr>
        <p:spPr>
          <a:xfrm>
            <a:off x="3304608" y="1006864"/>
            <a:ext cx="1425715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Favorite win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51AB3CC-CCA7-4767-9252-6F725174387A}"/>
              </a:ext>
            </a:extLst>
          </p:cNvPr>
          <p:cNvSpPr txBox="1"/>
          <p:nvPr/>
        </p:nvSpPr>
        <p:spPr>
          <a:xfrm>
            <a:off x="3236952" y="1279340"/>
            <a:ext cx="103467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ry red wine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5413E08-5A3D-4675-91E9-EF767159028D}"/>
              </a:ext>
            </a:extLst>
          </p:cNvPr>
          <p:cNvSpPr txBox="1"/>
          <p:nvPr/>
        </p:nvSpPr>
        <p:spPr>
          <a:xfrm>
            <a:off x="3227354" y="1583196"/>
            <a:ext cx="116785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ry white wine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6222A1F6-7894-41C4-B7D7-20B01F2EB5DD}"/>
              </a:ext>
            </a:extLst>
          </p:cNvPr>
          <p:cNvSpPr txBox="1"/>
          <p:nvPr/>
        </p:nvSpPr>
        <p:spPr>
          <a:xfrm>
            <a:off x="3242339" y="1887052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Sweet / </a:t>
            </a:r>
            <a:r>
              <a:rPr lang="en-US" sz="1000"/>
              <a:t>S</a:t>
            </a:r>
            <a:r>
              <a:rPr lang="en-US" sz="1000">
                <a:solidFill>
                  <a:schemeClr val="tx1"/>
                </a:solidFill>
              </a:rPr>
              <a:t>emi-dry reds win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8354123-B054-4566-9853-590498324A3D}"/>
              </a:ext>
            </a:extLst>
          </p:cNvPr>
          <p:cNvSpPr txBox="1"/>
          <p:nvPr/>
        </p:nvSpPr>
        <p:spPr>
          <a:xfrm>
            <a:off x="3235594" y="2283837"/>
            <a:ext cx="12720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Sweet / Semi-dry white wines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3668332-E547-4FF1-B921-8B4852AEEC17}"/>
              </a:ext>
            </a:extLst>
          </p:cNvPr>
          <p:cNvSpPr txBox="1"/>
          <p:nvPr/>
        </p:nvSpPr>
        <p:spPr>
          <a:xfrm>
            <a:off x="3242339" y="2726342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Dessert wine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541F6A8-86FB-4FD3-9B44-6A4737DE9DB9}"/>
              </a:ext>
            </a:extLst>
          </p:cNvPr>
          <p:cNvSpPr txBox="1"/>
          <p:nvPr/>
        </p:nvSpPr>
        <p:spPr>
          <a:xfrm>
            <a:off x="3236952" y="3083540"/>
            <a:ext cx="11678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000">
                <a:solidFill>
                  <a:schemeClr val="tx1"/>
                </a:solidFill>
              </a:rPr>
              <a:t>Unusual wines</a:t>
            </a:r>
          </a:p>
        </p:txBody>
      </p:sp>
      <p:pic>
        <p:nvPicPr>
          <p:cNvPr id="118" name="Graphic 117" descr="Bottle">
            <a:extLst>
              <a:ext uri="{FF2B5EF4-FFF2-40B4-BE49-F238E27FC236}">
                <a16:creationId xmlns:a16="http://schemas.microsoft.com/office/drawing/2014/main" id="{B368716C-D155-4336-B7C9-2E9F3DBD2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680" y="1266874"/>
            <a:ext cx="246221" cy="246221"/>
          </a:xfrm>
          <a:prstGeom prst="rect">
            <a:avLst/>
          </a:prstGeom>
        </p:spPr>
      </p:pic>
      <p:pic>
        <p:nvPicPr>
          <p:cNvPr id="173" name="Graphic 172" descr="Bottle">
            <a:extLst>
              <a:ext uri="{FF2B5EF4-FFF2-40B4-BE49-F238E27FC236}">
                <a16:creationId xmlns:a16="http://schemas.microsoft.com/office/drawing/2014/main" id="{99CB0C0A-B076-4134-A9EB-F52BF37679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680" y="1557333"/>
            <a:ext cx="246221" cy="246221"/>
          </a:xfrm>
          <a:prstGeom prst="rect">
            <a:avLst/>
          </a:prstGeom>
        </p:spPr>
      </p:pic>
      <p:pic>
        <p:nvPicPr>
          <p:cNvPr id="195" name="Graphic 194" descr="Bottle">
            <a:extLst>
              <a:ext uri="{FF2B5EF4-FFF2-40B4-BE49-F238E27FC236}">
                <a16:creationId xmlns:a16="http://schemas.microsoft.com/office/drawing/2014/main" id="{6B25DB5C-C651-425C-ACFD-C5A383620A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6208" y="1553707"/>
            <a:ext cx="246221" cy="246221"/>
          </a:xfrm>
          <a:prstGeom prst="rect">
            <a:avLst/>
          </a:prstGeom>
        </p:spPr>
      </p:pic>
      <p:sp>
        <p:nvSpPr>
          <p:cNvPr id="337" name="Rectangle 336">
            <a:extLst>
              <a:ext uri="{FF2B5EF4-FFF2-40B4-BE49-F238E27FC236}">
                <a16:creationId xmlns:a16="http://schemas.microsoft.com/office/drawing/2014/main" id="{C40AA7F2-8BAD-44B5-9017-9C1514D3FD89}"/>
              </a:ext>
            </a:extLst>
          </p:cNvPr>
          <p:cNvSpPr/>
          <p:nvPr/>
        </p:nvSpPr>
        <p:spPr>
          <a:xfrm>
            <a:off x="3202138" y="3721694"/>
            <a:ext cx="2886836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L="136525" indent="-136525"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FD7D5706-3A93-4DCE-8B4E-9B55248C0EA0}"/>
              </a:ext>
            </a:extLst>
          </p:cNvPr>
          <p:cNvSpPr/>
          <p:nvPr/>
        </p:nvSpPr>
        <p:spPr>
          <a:xfrm>
            <a:off x="6303870" y="3720964"/>
            <a:ext cx="5507130" cy="25942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07D37B4C-37C4-4C0D-BA48-DCFFAF08A678}"/>
              </a:ext>
            </a:extLst>
          </p:cNvPr>
          <p:cNvSpPr/>
          <p:nvPr/>
        </p:nvSpPr>
        <p:spPr>
          <a:xfrm>
            <a:off x="6307243" y="1139812"/>
            <a:ext cx="5507130" cy="23752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9EF8CD20-3A37-42E7-87D7-4DE12938B001}"/>
              </a:ext>
            </a:extLst>
          </p:cNvPr>
          <p:cNvSpPr/>
          <p:nvPr/>
        </p:nvSpPr>
        <p:spPr>
          <a:xfrm>
            <a:off x="6392703" y="1036684"/>
            <a:ext cx="1268013" cy="23072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Profile Analysis</a:t>
            </a: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3A55C9B8-61D0-4E6C-9854-5F3888E50222}"/>
              </a:ext>
            </a:extLst>
          </p:cNvPr>
          <p:cNvSpPr/>
          <p:nvPr/>
        </p:nvSpPr>
        <p:spPr>
          <a:xfrm>
            <a:off x="3278227" y="3616398"/>
            <a:ext cx="1879559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400" b="1">
                <a:solidFill>
                  <a:schemeClr val="tx2"/>
                </a:solidFill>
              </a:rPr>
              <a:t>Key characteristics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2EAEB08A-C17B-4745-BE2A-4ACEE6C47A6E}"/>
              </a:ext>
            </a:extLst>
          </p:cNvPr>
          <p:cNvSpPr/>
          <p:nvPr/>
        </p:nvSpPr>
        <p:spPr>
          <a:xfrm>
            <a:off x="6389330" y="3606143"/>
            <a:ext cx="1811707" cy="25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r>
              <a:rPr lang="en-US" sz="1200" b="1">
                <a:solidFill>
                  <a:schemeClr val="tx2"/>
                </a:solidFill>
              </a:rPr>
              <a:t>Marketing approache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CD9EEBE-3716-45EA-87D2-A5C03B9B23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459" y="3333423"/>
            <a:ext cx="1621464" cy="1710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24E33E-08BE-4015-B37E-450927565153}"/>
              </a:ext>
            </a:extLst>
          </p:cNvPr>
          <p:cNvSpPr txBox="1"/>
          <p:nvPr/>
        </p:nvSpPr>
        <p:spPr>
          <a:xfrm>
            <a:off x="6519333" y="1430867"/>
            <a:ext cx="5096934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Young people with low income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Web oriented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Special interest for discount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Possibly young children at hom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endParaRPr lang="en-US" sz="1200"/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20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07FFCC2-F6F6-4076-AF21-80FDF767833D}"/>
              </a:ext>
            </a:extLst>
          </p:cNvPr>
          <p:cNvSpPr txBox="1"/>
          <p:nvPr/>
        </p:nvSpPr>
        <p:spPr>
          <a:xfrm>
            <a:off x="6389330" y="3972964"/>
            <a:ext cx="467792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>
                <a:solidFill>
                  <a:schemeClr val="tx1"/>
                </a:solidFill>
              </a:rPr>
              <a:t>Social media advertising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>
                <a:solidFill>
                  <a:schemeClr val="tx1"/>
                </a:solidFill>
              </a:rPr>
              <a:t>Low-cost advertising mean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E-mail newsletters instead of catalog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/>
              <a:t>Discount code for new subscribers</a:t>
            </a:r>
          </a:p>
          <a:p>
            <a:pPr marL="136525" indent="-136525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200" i="1"/>
              <a:t>Instagram Giveaway </a:t>
            </a:r>
            <a:r>
              <a:rPr lang="en-US" sz="1200"/>
              <a:t>campaign</a:t>
            </a:r>
            <a:endParaRPr lang="en-US" sz="1200" i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881B16-55BB-444C-A84B-576E9949F6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7830" y="4108505"/>
            <a:ext cx="506012" cy="48772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7978451-7755-4F16-9875-D71BC4A3A111}"/>
              </a:ext>
            </a:extLst>
          </p:cNvPr>
          <p:cNvSpPr txBox="1"/>
          <p:nvPr/>
        </p:nvSpPr>
        <p:spPr>
          <a:xfrm>
            <a:off x="4032844" y="4202265"/>
            <a:ext cx="12051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Web oriented</a:t>
            </a:r>
            <a:endParaRPr lang="bs-Latn-BA" sz="1200" b="1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933BE97-1B6D-4AE6-8F5E-BD71F4CFC138}"/>
              </a:ext>
            </a:extLst>
          </p:cNvPr>
          <p:cNvGrpSpPr/>
          <p:nvPr/>
        </p:nvGrpSpPr>
        <p:grpSpPr>
          <a:xfrm>
            <a:off x="3423852" y="4794000"/>
            <a:ext cx="509990" cy="507800"/>
            <a:chOff x="3338513" y="5022850"/>
            <a:chExt cx="838200" cy="838200"/>
          </a:xfrm>
        </p:grpSpPr>
        <p:sp>
          <p:nvSpPr>
            <p:cNvPr id="52" name="Freeform 675">
              <a:extLst>
                <a:ext uri="{FF2B5EF4-FFF2-40B4-BE49-F238E27FC236}">
                  <a16:creationId xmlns:a16="http://schemas.microsoft.com/office/drawing/2014/main" id="{6D66ECF2-11D0-4B5A-876C-2518139C8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  <a:close/>
                </a:path>
              </a:pathLst>
            </a:custGeom>
            <a:solidFill>
              <a:srgbClr val="BED6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676">
              <a:extLst>
                <a:ext uri="{FF2B5EF4-FFF2-40B4-BE49-F238E27FC236}">
                  <a16:creationId xmlns:a16="http://schemas.microsoft.com/office/drawing/2014/main" id="{314075CF-92DB-4038-9ECA-92DA90271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677">
              <a:extLst>
                <a:ext uri="{FF2B5EF4-FFF2-40B4-BE49-F238E27FC236}">
                  <a16:creationId xmlns:a16="http://schemas.microsoft.com/office/drawing/2014/main" id="{CEC8E8B0-68C6-4373-A559-7A875109C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678">
              <a:extLst>
                <a:ext uri="{FF2B5EF4-FFF2-40B4-BE49-F238E27FC236}">
                  <a16:creationId xmlns:a16="http://schemas.microsoft.com/office/drawing/2014/main" id="{3A4E6913-8B43-47E2-8A10-091DD476E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679">
              <a:extLst>
                <a:ext uri="{FF2B5EF4-FFF2-40B4-BE49-F238E27FC236}">
                  <a16:creationId xmlns:a16="http://schemas.microsoft.com/office/drawing/2014/main" id="{BCF4F149-CA8F-472A-9942-35CB32B39F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  <a:cxn ang="0">
                  <a:pos x="2210" y="627"/>
                </a:cxn>
                <a:cxn ang="0">
                  <a:pos x="2241" y="614"/>
                </a:cxn>
                <a:cxn ang="0">
                  <a:pos x="2235" y="662"/>
                </a:cxn>
                <a:cxn ang="0">
                  <a:pos x="2198" y="67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  <a:close/>
                  <a:moveTo>
                    <a:pt x="2210" y="627"/>
                  </a:moveTo>
                  <a:lnTo>
                    <a:pt x="2210" y="627"/>
                  </a:lnTo>
                  <a:lnTo>
                    <a:pt x="2219" y="615"/>
                  </a:lnTo>
                  <a:lnTo>
                    <a:pt x="2228" y="607"/>
                  </a:lnTo>
                  <a:lnTo>
                    <a:pt x="2233" y="603"/>
                  </a:lnTo>
                  <a:lnTo>
                    <a:pt x="2236" y="602"/>
                  </a:lnTo>
                  <a:lnTo>
                    <a:pt x="2236" y="602"/>
                  </a:lnTo>
                  <a:lnTo>
                    <a:pt x="2238" y="604"/>
                  </a:lnTo>
                  <a:lnTo>
                    <a:pt x="2240" y="608"/>
                  </a:lnTo>
                  <a:lnTo>
                    <a:pt x="2241" y="614"/>
                  </a:lnTo>
                  <a:lnTo>
                    <a:pt x="2242" y="621"/>
                  </a:lnTo>
                  <a:lnTo>
                    <a:pt x="2242" y="629"/>
                  </a:lnTo>
                  <a:lnTo>
                    <a:pt x="2241" y="640"/>
                  </a:lnTo>
                  <a:lnTo>
                    <a:pt x="2239" y="650"/>
                  </a:lnTo>
                  <a:lnTo>
                    <a:pt x="2235" y="661"/>
                  </a:lnTo>
                  <a:lnTo>
                    <a:pt x="2235" y="661"/>
                  </a:lnTo>
                  <a:lnTo>
                    <a:pt x="2235" y="662"/>
                  </a:lnTo>
                  <a:lnTo>
                    <a:pt x="2235" y="662"/>
                  </a:lnTo>
                  <a:lnTo>
                    <a:pt x="2229" y="677"/>
                  </a:lnTo>
                  <a:lnTo>
                    <a:pt x="2220" y="689"/>
                  </a:lnTo>
                  <a:lnTo>
                    <a:pt x="2212" y="701"/>
                  </a:lnTo>
                  <a:lnTo>
                    <a:pt x="2203" y="709"/>
                  </a:lnTo>
                  <a:lnTo>
                    <a:pt x="2203" y="709"/>
                  </a:lnTo>
                  <a:lnTo>
                    <a:pt x="2201" y="697"/>
                  </a:lnTo>
                  <a:lnTo>
                    <a:pt x="2199" y="686"/>
                  </a:lnTo>
                  <a:lnTo>
                    <a:pt x="2198" y="675"/>
                  </a:lnTo>
                  <a:lnTo>
                    <a:pt x="2199" y="664"/>
                  </a:lnTo>
                  <a:lnTo>
                    <a:pt x="2200" y="654"/>
                  </a:lnTo>
                  <a:lnTo>
                    <a:pt x="2202" y="645"/>
                  </a:lnTo>
                  <a:lnTo>
                    <a:pt x="2205" y="636"/>
                  </a:lnTo>
                  <a:lnTo>
                    <a:pt x="2210" y="627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680">
              <a:extLst>
                <a:ext uri="{FF2B5EF4-FFF2-40B4-BE49-F238E27FC236}">
                  <a16:creationId xmlns:a16="http://schemas.microsoft.com/office/drawing/2014/main" id="{25F6BA0A-7299-473D-9C57-48360D95D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681">
              <a:extLst>
                <a:ext uri="{FF2B5EF4-FFF2-40B4-BE49-F238E27FC236}">
                  <a16:creationId xmlns:a16="http://schemas.microsoft.com/office/drawing/2014/main" id="{BA328444-6494-49AF-A1F1-02707EF94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813" y="5459413"/>
              <a:ext cx="9525" cy="20638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12" y="25"/>
                </a:cxn>
                <a:cxn ang="0">
                  <a:pos x="21" y="13"/>
                </a:cxn>
                <a:cxn ang="0">
                  <a:pos x="30" y="5"/>
                </a:cxn>
                <a:cxn ang="0">
                  <a:pos x="35" y="1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40" y="2"/>
                </a:cxn>
                <a:cxn ang="0">
                  <a:pos x="42" y="6"/>
                </a:cxn>
                <a:cxn ang="0">
                  <a:pos x="43" y="12"/>
                </a:cxn>
                <a:cxn ang="0">
                  <a:pos x="44" y="19"/>
                </a:cxn>
                <a:cxn ang="0">
                  <a:pos x="44" y="27"/>
                </a:cxn>
                <a:cxn ang="0">
                  <a:pos x="43" y="38"/>
                </a:cxn>
                <a:cxn ang="0">
                  <a:pos x="41" y="48"/>
                </a:cxn>
                <a:cxn ang="0">
                  <a:pos x="37" y="59"/>
                </a:cxn>
                <a:cxn ang="0">
                  <a:pos x="37" y="59"/>
                </a:cxn>
                <a:cxn ang="0">
                  <a:pos x="37" y="60"/>
                </a:cxn>
                <a:cxn ang="0">
                  <a:pos x="37" y="60"/>
                </a:cxn>
                <a:cxn ang="0">
                  <a:pos x="31" y="75"/>
                </a:cxn>
                <a:cxn ang="0">
                  <a:pos x="22" y="87"/>
                </a:cxn>
                <a:cxn ang="0">
                  <a:pos x="14" y="99"/>
                </a:cxn>
                <a:cxn ang="0">
                  <a:pos x="5" y="107"/>
                </a:cxn>
                <a:cxn ang="0">
                  <a:pos x="5" y="107"/>
                </a:cxn>
                <a:cxn ang="0">
                  <a:pos x="3" y="95"/>
                </a:cxn>
                <a:cxn ang="0">
                  <a:pos x="1" y="84"/>
                </a:cxn>
                <a:cxn ang="0">
                  <a:pos x="0" y="73"/>
                </a:cxn>
                <a:cxn ang="0">
                  <a:pos x="1" y="62"/>
                </a:cxn>
                <a:cxn ang="0">
                  <a:pos x="2" y="52"/>
                </a:cxn>
                <a:cxn ang="0">
                  <a:pos x="4" y="43"/>
                </a:cxn>
                <a:cxn ang="0">
                  <a:pos x="7" y="34"/>
                </a:cxn>
                <a:cxn ang="0">
                  <a:pos x="12" y="25"/>
                </a:cxn>
              </a:cxnLst>
              <a:rect l="0" t="0" r="r" b="b"/>
              <a:pathLst>
                <a:path w="44" h="107">
                  <a:moveTo>
                    <a:pt x="12" y="25"/>
                  </a:moveTo>
                  <a:lnTo>
                    <a:pt x="12" y="25"/>
                  </a:lnTo>
                  <a:lnTo>
                    <a:pt x="21" y="13"/>
                  </a:lnTo>
                  <a:lnTo>
                    <a:pt x="30" y="5"/>
                  </a:lnTo>
                  <a:lnTo>
                    <a:pt x="35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6"/>
                  </a:lnTo>
                  <a:lnTo>
                    <a:pt x="43" y="12"/>
                  </a:lnTo>
                  <a:lnTo>
                    <a:pt x="44" y="19"/>
                  </a:lnTo>
                  <a:lnTo>
                    <a:pt x="44" y="27"/>
                  </a:lnTo>
                  <a:lnTo>
                    <a:pt x="43" y="38"/>
                  </a:lnTo>
                  <a:lnTo>
                    <a:pt x="41" y="48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1" y="75"/>
                  </a:lnTo>
                  <a:lnTo>
                    <a:pt x="22" y="87"/>
                  </a:lnTo>
                  <a:lnTo>
                    <a:pt x="14" y="99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95"/>
                  </a:lnTo>
                  <a:lnTo>
                    <a:pt x="1" y="84"/>
                  </a:lnTo>
                  <a:lnTo>
                    <a:pt x="0" y="73"/>
                  </a:lnTo>
                  <a:lnTo>
                    <a:pt x="1" y="62"/>
                  </a:lnTo>
                  <a:lnTo>
                    <a:pt x="2" y="52"/>
                  </a:lnTo>
                  <a:lnTo>
                    <a:pt x="4" y="43"/>
                  </a:lnTo>
                  <a:lnTo>
                    <a:pt x="7" y="34"/>
                  </a:lnTo>
                  <a:lnTo>
                    <a:pt x="12" y="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682">
              <a:extLst>
                <a:ext uri="{FF2B5EF4-FFF2-40B4-BE49-F238E27FC236}">
                  <a16:creationId xmlns:a16="http://schemas.microsoft.com/office/drawing/2014/main" id="{AFE8B69F-8040-4713-BB2F-2E4CCEDB1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solidFill>
              <a:srgbClr val="FAAB1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83">
              <a:extLst>
                <a:ext uri="{FF2B5EF4-FFF2-40B4-BE49-F238E27FC236}">
                  <a16:creationId xmlns:a16="http://schemas.microsoft.com/office/drawing/2014/main" id="{F8AA007F-4A92-446B-B151-E66AAACE9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684">
              <a:extLst>
                <a:ext uri="{FF2B5EF4-FFF2-40B4-BE49-F238E27FC236}">
                  <a16:creationId xmlns:a16="http://schemas.microsoft.com/office/drawing/2014/main" id="{6AEC54E1-B249-4F12-9C09-8862C1E9D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685">
              <a:extLst>
                <a:ext uri="{FF2B5EF4-FFF2-40B4-BE49-F238E27FC236}">
                  <a16:creationId xmlns:a16="http://schemas.microsoft.com/office/drawing/2014/main" id="{D6385D5D-B183-4C72-875D-907D743A7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686">
              <a:extLst>
                <a:ext uri="{FF2B5EF4-FFF2-40B4-BE49-F238E27FC236}">
                  <a16:creationId xmlns:a16="http://schemas.microsoft.com/office/drawing/2014/main" id="{12B2FF9F-968E-4FB2-95A8-7EE65EF4C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5580063"/>
              <a:ext cx="76200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2" y="18"/>
                </a:cxn>
                <a:cxn ang="0">
                  <a:pos x="358" y="30"/>
                </a:cxn>
                <a:cxn ang="0">
                  <a:pos x="369" y="45"/>
                </a:cxn>
                <a:cxn ang="0">
                  <a:pos x="378" y="61"/>
                </a:cxn>
                <a:cxn ang="0">
                  <a:pos x="385" y="80"/>
                </a:cxn>
                <a:cxn ang="0">
                  <a:pos x="387" y="100"/>
                </a:cxn>
                <a:cxn ang="0">
                  <a:pos x="329" y="423"/>
                </a:cxn>
                <a:cxn ang="0">
                  <a:pos x="327" y="437"/>
                </a:cxn>
                <a:cxn ang="0">
                  <a:pos x="323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59" y="493"/>
                </a:cxn>
                <a:cxn ang="0">
                  <a:pos x="128" y="493"/>
                </a:cxn>
                <a:cxn ang="0">
                  <a:pos x="114" y="491"/>
                </a:cxn>
                <a:cxn ang="0">
                  <a:pos x="100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3" y="450"/>
                </a:cxn>
                <a:cxn ang="0">
                  <a:pos x="59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7" y="61"/>
                </a:cxn>
                <a:cxn ang="0">
                  <a:pos x="17" y="45"/>
                </a:cxn>
                <a:cxn ang="0">
                  <a:pos x="29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80" y="2"/>
                </a:cxn>
                <a:cxn ang="0">
                  <a:pos x="99" y="0"/>
                </a:cxn>
              </a:cxnLst>
              <a:rect l="0" t="0" r="r" b="b"/>
              <a:pathLst>
                <a:path w="387" h="493">
                  <a:moveTo>
                    <a:pt x="287" y="0"/>
                  </a:moveTo>
                  <a:lnTo>
                    <a:pt x="287" y="0"/>
                  </a:lnTo>
                  <a:lnTo>
                    <a:pt x="297" y="1"/>
                  </a:lnTo>
                  <a:lnTo>
                    <a:pt x="307" y="2"/>
                  </a:lnTo>
                  <a:lnTo>
                    <a:pt x="317" y="6"/>
                  </a:lnTo>
                  <a:lnTo>
                    <a:pt x="326" y="9"/>
                  </a:lnTo>
                  <a:lnTo>
                    <a:pt x="334" y="13"/>
                  </a:lnTo>
                  <a:lnTo>
                    <a:pt x="342" y="18"/>
                  </a:lnTo>
                  <a:lnTo>
                    <a:pt x="351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69" y="45"/>
                  </a:lnTo>
                  <a:lnTo>
                    <a:pt x="374" y="53"/>
                  </a:lnTo>
                  <a:lnTo>
                    <a:pt x="378" y="61"/>
                  </a:lnTo>
                  <a:lnTo>
                    <a:pt x="382" y="70"/>
                  </a:lnTo>
                  <a:lnTo>
                    <a:pt x="385" y="80"/>
                  </a:lnTo>
                  <a:lnTo>
                    <a:pt x="386" y="90"/>
                  </a:lnTo>
                  <a:lnTo>
                    <a:pt x="387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8" y="430"/>
                  </a:lnTo>
                  <a:lnTo>
                    <a:pt x="327" y="437"/>
                  </a:lnTo>
                  <a:lnTo>
                    <a:pt x="326" y="443"/>
                  </a:lnTo>
                  <a:lnTo>
                    <a:pt x="323" y="450"/>
                  </a:lnTo>
                  <a:lnTo>
                    <a:pt x="321" y="456"/>
                  </a:lnTo>
                  <a:lnTo>
                    <a:pt x="317" y="462"/>
                  </a:lnTo>
                  <a:lnTo>
                    <a:pt x="312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2" y="485"/>
                  </a:lnTo>
                  <a:lnTo>
                    <a:pt x="286" y="488"/>
                  </a:lnTo>
                  <a:lnTo>
                    <a:pt x="279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59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4" y="491"/>
                  </a:lnTo>
                  <a:lnTo>
                    <a:pt x="107" y="490"/>
                  </a:lnTo>
                  <a:lnTo>
                    <a:pt x="100" y="488"/>
                  </a:lnTo>
                  <a:lnTo>
                    <a:pt x="94" y="485"/>
                  </a:lnTo>
                  <a:lnTo>
                    <a:pt x="89" y="480"/>
                  </a:lnTo>
                  <a:lnTo>
                    <a:pt x="84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6" y="456"/>
                  </a:lnTo>
                  <a:lnTo>
                    <a:pt x="63" y="450"/>
                  </a:lnTo>
                  <a:lnTo>
                    <a:pt x="61" y="443"/>
                  </a:lnTo>
                  <a:lnTo>
                    <a:pt x="59" y="437"/>
                  </a:lnTo>
                  <a:lnTo>
                    <a:pt x="58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0"/>
                  </a:lnTo>
                  <a:lnTo>
                    <a:pt x="2" y="80"/>
                  </a:lnTo>
                  <a:lnTo>
                    <a:pt x="4" y="70"/>
                  </a:lnTo>
                  <a:lnTo>
                    <a:pt x="7" y="61"/>
                  </a:lnTo>
                  <a:lnTo>
                    <a:pt x="13" y="53"/>
                  </a:lnTo>
                  <a:lnTo>
                    <a:pt x="17" y="45"/>
                  </a:lnTo>
                  <a:lnTo>
                    <a:pt x="23" y="36"/>
                  </a:lnTo>
                  <a:lnTo>
                    <a:pt x="29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99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687">
              <a:extLst>
                <a:ext uri="{FF2B5EF4-FFF2-40B4-BE49-F238E27FC236}">
                  <a16:creationId xmlns:a16="http://schemas.microsoft.com/office/drawing/2014/main" id="{6718D200-B72F-487F-A615-992CFE7F8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88">
              <a:extLst>
                <a:ext uri="{FF2B5EF4-FFF2-40B4-BE49-F238E27FC236}">
                  <a16:creationId xmlns:a16="http://schemas.microsoft.com/office/drawing/2014/main" id="{6CDDFCBE-69D9-4E80-BAA8-7EC9393BD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89">
              <a:extLst>
                <a:ext uri="{FF2B5EF4-FFF2-40B4-BE49-F238E27FC236}">
                  <a16:creationId xmlns:a16="http://schemas.microsoft.com/office/drawing/2014/main" id="{CEC1728F-4317-46E9-8A99-2A05159D3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90">
              <a:extLst>
                <a:ext uri="{FF2B5EF4-FFF2-40B4-BE49-F238E27FC236}">
                  <a16:creationId xmlns:a16="http://schemas.microsoft.com/office/drawing/2014/main" id="{BB254A4F-C335-4609-A058-863456340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91">
              <a:extLst>
                <a:ext uri="{FF2B5EF4-FFF2-40B4-BE49-F238E27FC236}">
                  <a16:creationId xmlns:a16="http://schemas.microsoft.com/office/drawing/2014/main" id="{C53C4F9C-C538-4384-A069-8216E9E9D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92">
              <a:extLst>
                <a:ext uri="{FF2B5EF4-FFF2-40B4-BE49-F238E27FC236}">
                  <a16:creationId xmlns:a16="http://schemas.microsoft.com/office/drawing/2014/main" id="{930ECEA4-17C7-4B4A-BF2D-0D9F8B8CF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93">
              <a:extLst>
                <a:ext uri="{FF2B5EF4-FFF2-40B4-BE49-F238E27FC236}">
                  <a16:creationId xmlns:a16="http://schemas.microsoft.com/office/drawing/2014/main" id="{198E7486-1C04-4B6C-9184-381A24812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694">
              <a:extLst>
                <a:ext uri="{FF2B5EF4-FFF2-40B4-BE49-F238E27FC236}">
                  <a16:creationId xmlns:a16="http://schemas.microsoft.com/office/drawing/2014/main" id="{42E0E851-1CF5-4366-939F-3A985158C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695">
              <a:extLst>
                <a:ext uri="{FF2B5EF4-FFF2-40B4-BE49-F238E27FC236}">
                  <a16:creationId xmlns:a16="http://schemas.microsoft.com/office/drawing/2014/main" id="{0A8E4D05-D92E-4B69-85DC-5DFFA31FC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696">
              <a:extLst>
                <a:ext uri="{FF2B5EF4-FFF2-40B4-BE49-F238E27FC236}">
                  <a16:creationId xmlns:a16="http://schemas.microsoft.com/office/drawing/2014/main" id="{D6EF026F-A480-4981-83C4-DCD46EAB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697">
              <a:extLst>
                <a:ext uri="{FF2B5EF4-FFF2-40B4-BE49-F238E27FC236}">
                  <a16:creationId xmlns:a16="http://schemas.microsoft.com/office/drawing/2014/main" id="{26AC8EC0-AD2F-478C-9DC5-1BFC16EC4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698">
              <a:extLst>
                <a:ext uri="{FF2B5EF4-FFF2-40B4-BE49-F238E27FC236}">
                  <a16:creationId xmlns:a16="http://schemas.microsoft.com/office/drawing/2014/main" id="{9F381BA1-773A-4114-9FF9-44304F7E8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699">
              <a:extLst>
                <a:ext uri="{FF2B5EF4-FFF2-40B4-BE49-F238E27FC236}">
                  <a16:creationId xmlns:a16="http://schemas.microsoft.com/office/drawing/2014/main" id="{42DCF683-9BB7-4A94-97F8-AB0E568899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449" y="614"/>
                </a:cxn>
                <a:cxn ang="0">
                  <a:pos x="430" y="578"/>
                </a:cxn>
                <a:cxn ang="0">
                  <a:pos x="443" y="547"/>
                </a:cxn>
                <a:cxn ang="0">
                  <a:pos x="474" y="534"/>
                </a:cxn>
                <a:cxn ang="0">
                  <a:pos x="510" y="553"/>
                </a:cxn>
                <a:cxn ang="0">
                  <a:pos x="516" y="586"/>
                </a:cxn>
                <a:cxn ang="0">
                  <a:pos x="490" y="618"/>
                </a:cxn>
                <a:cxn ang="0">
                  <a:pos x="1126" y="0"/>
                </a:cxn>
                <a:cxn ang="0">
                  <a:pos x="932" y="25"/>
                </a:cxn>
                <a:cxn ang="0">
                  <a:pos x="753" y="81"/>
                </a:cxn>
                <a:cxn ang="0">
                  <a:pos x="594" y="166"/>
                </a:cxn>
                <a:cxn ang="0">
                  <a:pos x="460" y="275"/>
                </a:cxn>
                <a:cxn ang="0">
                  <a:pos x="355" y="405"/>
                </a:cxn>
                <a:cxn ang="0">
                  <a:pos x="283" y="551"/>
                </a:cxn>
                <a:cxn ang="0">
                  <a:pos x="59" y="584"/>
                </a:cxn>
                <a:cxn ang="0">
                  <a:pos x="27" y="600"/>
                </a:cxn>
                <a:cxn ang="0">
                  <a:pos x="6" y="627"/>
                </a:cxn>
                <a:cxn ang="0">
                  <a:pos x="0" y="764"/>
                </a:cxn>
                <a:cxn ang="0">
                  <a:pos x="3" y="926"/>
                </a:cxn>
                <a:cxn ang="0">
                  <a:pos x="32" y="970"/>
                </a:cxn>
                <a:cxn ang="0">
                  <a:pos x="65" y="989"/>
                </a:cxn>
                <a:cxn ang="0">
                  <a:pos x="315" y="1055"/>
                </a:cxn>
                <a:cxn ang="0">
                  <a:pos x="363" y="1136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38" y="1231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7" y="1299"/>
                </a:cxn>
                <a:cxn ang="0">
                  <a:pos x="564" y="1254"/>
                </a:cxn>
                <a:cxn ang="0">
                  <a:pos x="599" y="1222"/>
                </a:cxn>
                <a:cxn ang="0">
                  <a:pos x="646" y="1209"/>
                </a:cxn>
                <a:cxn ang="0">
                  <a:pos x="862" y="1215"/>
                </a:cxn>
                <a:cxn ang="0">
                  <a:pos x="904" y="1239"/>
                </a:cxn>
                <a:cxn ang="0">
                  <a:pos x="928" y="127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1010" y="1518"/>
                </a:cxn>
                <a:cxn ang="0">
                  <a:pos x="1029" y="1521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24" y="1528"/>
                </a:cxn>
                <a:cxn ang="0">
                  <a:pos x="1146" y="1529"/>
                </a:cxn>
                <a:cxn ang="0">
                  <a:pos x="1134" y="133"/>
                </a:cxn>
                <a:cxn ang="0">
                  <a:pos x="973" y="151"/>
                </a:cxn>
                <a:cxn ang="0">
                  <a:pos x="903" y="168"/>
                </a:cxn>
                <a:cxn ang="0">
                  <a:pos x="881" y="159"/>
                </a:cxn>
                <a:cxn ang="0">
                  <a:pos x="873" y="140"/>
                </a:cxn>
                <a:cxn ang="0">
                  <a:pos x="884" y="115"/>
                </a:cxn>
                <a:cxn ang="0">
                  <a:pos x="961" y="94"/>
                </a:cxn>
                <a:cxn ang="0">
                  <a:pos x="1132" y="74"/>
                </a:cxn>
              </a:cxnLst>
              <a:rect l="0" t="0" r="r" b="b"/>
              <a:pathLst>
                <a:path w="1166" h="1632">
                  <a:moveTo>
                    <a:pt x="474" y="621"/>
                  </a:moveTo>
                  <a:lnTo>
                    <a:pt x="474" y="621"/>
                  </a:lnTo>
                  <a:lnTo>
                    <a:pt x="465" y="620"/>
                  </a:lnTo>
                  <a:lnTo>
                    <a:pt x="456" y="618"/>
                  </a:lnTo>
                  <a:lnTo>
                    <a:pt x="449" y="614"/>
                  </a:lnTo>
                  <a:lnTo>
                    <a:pt x="443" y="609"/>
                  </a:lnTo>
                  <a:lnTo>
                    <a:pt x="438" y="602"/>
                  </a:lnTo>
                  <a:lnTo>
                    <a:pt x="434" y="594"/>
                  </a:lnTo>
                  <a:lnTo>
                    <a:pt x="431" y="586"/>
                  </a:lnTo>
                  <a:lnTo>
                    <a:pt x="430" y="578"/>
                  </a:lnTo>
                  <a:lnTo>
                    <a:pt x="430" y="578"/>
                  </a:lnTo>
                  <a:lnTo>
                    <a:pt x="431" y="569"/>
                  </a:lnTo>
                  <a:lnTo>
                    <a:pt x="434" y="560"/>
                  </a:lnTo>
                  <a:lnTo>
                    <a:pt x="438" y="553"/>
                  </a:lnTo>
                  <a:lnTo>
                    <a:pt x="443" y="547"/>
                  </a:lnTo>
                  <a:lnTo>
                    <a:pt x="449" y="542"/>
                  </a:lnTo>
                  <a:lnTo>
                    <a:pt x="456" y="538"/>
                  </a:lnTo>
                  <a:lnTo>
                    <a:pt x="465" y="535"/>
                  </a:lnTo>
                  <a:lnTo>
                    <a:pt x="474" y="534"/>
                  </a:lnTo>
                  <a:lnTo>
                    <a:pt x="474" y="534"/>
                  </a:lnTo>
                  <a:lnTo>
                    <a:pt x="482" y="535"/>
                  </a:lnTo>
                  <a:lnTo>
                    <a:pt x="490" y="538"/>
                  </a:lnTo>
                  <a:lnTo>
                    <a:pt x="499" y="542"/>
                  </a:lnTo>
                  <a:lnTo>
                    <a:pt x="505" y="547"/>
                  </a:lnTo>
                  <a:lnTo>
                    <a:pt x="510" y="553"/>
                  </a:lnTo>
                  <a:lnTo>
                    <a:pt x="514" y="560"/>
                  </a:lnTo>
                  <a:lnTo>
                    <a:pt x="516" y="569"/>
                  </a:lnTo>
                  <a:lnTo>
                    <a:pt x="517" y="578"/>
                  </a:lnTo>
                  <a:lnTo>
                    <a:pt x="517" y="578"/>
                  </a:lnTo>
                  <a:lnTo>
                    <a:pt x="516" y="586"/>
                  </a:lnTo>
                  <a:lnTo>
                    <a:pt x="514" y="594"/>
                  </a:lnTo>
                  <a:lnTo>
                    <a:pt x="510" y="602"/>
                  </a:lnTo>
                  <a:lnTo>
                    <a:pt x="505" y="609"/>
                  </a:lnTo>
                  <a:lnTo>
                    <a:pt x="499" y="614"/>
                  </a:lnTo>
                  <a:lnTo>
                    <a:pt x="490" y="618"/>
                  </a:lnTo>
                  <a:lnTo>
                    <a:pt x="482" y="620"/>
                  </a:lnTo>
                  <a:lnTo>
                    <a:pt x="474" y="621"/>
                  </a:lnTo>
                  <a:close/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00">
              <a:extLst>
                <a:ext uri="{FF2B5EF4-FFF2-40B4-BE49-F238E27FC236}">
                  <a16:creationId xmlns:a16="http://schemas.microsoft.com/office/drawing/2014/main" id="{A32FC83F-7924-4ECF-AD44-705803783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</a:cxnLst>
              <a:rect l="0" t="0" r="r" b="b"/>
              <a:pathLst>
                <a:path w="87" h="87">
                  <a:moveTo>
                    <a:pt x="44" y="87"/>
                  </a:move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01">
              <a:extLst>
                <a:ext uri="{FF2B5EF4-FFF2-40B4-BE49-F238E27FC236}">
                  <a16:creationId xmlns:a16="http://schemas.microsoft.com/office/drawing/2014/main" id="{41D9B81B-6DDB-4E97-ADCF-CC8086825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1087" y="3"/>
                </a:cxn>
                <a:cxn ang="0">
                  <a:pos x="932" y="25"/>
                </a:cxn>
                <a:cxn ang="0">
                  <a:pos x="787" y="68"/>
                </a:cxn>
                <a:cxn ang="0">
                  <a:pos x="655" y="129"/>
                </a:cxn>
                <a:cxn ang="0">
                  <a:pos x="538" y="207"/>
                </a:cxn>
                <a:cxn ang="0">
                  <a:pos x="437" y="299"/>
                </a:cxn>
                <a:cxn ang="0">
                  <a:pos x="355" y="405"/>
                </a:cxn>
                <a:cxn ang="0">
                  <a:pos x="295" y="521"/>
                </a:cxn>
                <a:cxn ang="0">
                  <a:pos x="73" y="583"/>
                </a:cxn>
                <a:cxn ang="0">
                  <a:pos x="45" y="588"/>
                </a:cxn>
                <a:cxn ang="0">
                  <a:pos x="21" y="605"/>
                </a:cxn>
                <a:cxn ang="0">
                  <a:pos x="6" y="627"/>
                </a:cxn>
                <a:cxn ang="0">
                  <a:pos x="0" y="656"/>
                </a:cxn>
                <a:cxn ang="0">
                  <a:pos x="1" y="912"/>
                </a:cxn>
                <a:cxn ang="0">
                  <a:pos x="9" y="941"/>
                </a:cxn>
                <a:cxn ang="0">
                  <a:pos x="38" y="976"/>
                </a:cxn>
                <a:cxn ang="0">
                  <a:pos x="65" y="989"/>
                </a:cxn>
                <a:cxn ang="0">
                  <a:pos x="315" y="1054"/>
                </a:cxn>
                <a:cxn ang="0">
                  <a:pos x="338" y="1096"/>
                </a:cxn>
                <a:cxn ang="0">
                  <a:pos x="364" y="1137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23" y="1216"/>
                </a:cxn>
                <a:cxn ang="0">
                  <a:pos x="440" y="1233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6" y="1309"/>
                </a:cxn>
                <a:cxn ang="0">
                  <a:pos x="554" y="1270"/>
                </a:cxn>
                <a:cxn ang="0">
                  <a:pos x="576" y="1239"/>
                </a:cxn>
                <a:cxn ang="0">
                  <a:pos x="607" y="1218"/>
                </a:cxn>
                <a:cxn ang="0">
                  <a:pos x="646" y="1209"/>
                </a:cxn>
                <a:cxn ang="0">
                  <a:pos x="853" y="1211"/>
                </a:cxn>
                <a:cxn ang="0">
                  <a:pos x="889" y="1227"/>
                </a:cxn>
                <a:cxn ang="0">
                  <a:pos x="916" y="1254"/>
                </a:cxn>
                <a:cxn ang="0">
                  <a:pos x="930" y="128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998" y="1516"/>
                </a:cxn>
                <a:cxn ang="0">
                  <a:pos x="1019" y="1520"/>
                </a:cxn>
                <a:cxn ang="0">
                  <a:pos x="1048" y="1523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17" y="1528"/>
                </a:cxn>
                <a:cxn ang="0">
                  <a:pos x="1140" y="1529"/>
                </a:cxn>
                <a:cxn ang="0">
                  <a:pos x="1166" y="1529"/>
                </a:cxn>
                <a:cxn ang="0">
                  <a:pos x="1134" y="133"/>
                </a:cxn>
                <a:cxn ang="0">
                  <a:pos x="1005" y="145"/>
                </a:cxn>
                <a:cxn ang="0">
                  <a:pos x="911" y="167"/>
                </a:cxn>
                <a:cxn ang="0">
                  <a:pos x="893" y="166"/>
                </a:cxn>
                <a:cxn ang="0">
                  <a:pos x="878" y="155"/>
                </a:cxn>
                <a:cxn ang="0">
                  <a:pos x="873" y="140"/>
                </a:cxn>
                <a:cxn ang="0">
                  <a:pos x="880" y="120"/>
                </a:cxn>
                <a:cxn ang="0">
                  <a:pos x="894" y="110"/>
                </a:cxn>
                <a:cxn ang="0">
                  <a:pos x="1028" y="82"/>
                </a:cxn>
                <a:cxn ang="0">
                  <a:pos x="1166" y="73"/>
                </a:cxn>
              </a:cxnLst>
              <a:rect l="0" t="0" r="r" b="b"/>
              <a:pathLst>
                <a:path w="1166" h="1632"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02">
              <a:extLst>
                <a:ext uri="{FF2B5EF4-FFF2-40B4-BE49-F238E27FC236}">
                  <a16:creationId xmlns:a16="http://schemas.microsoft.com/office/drawing/2014/main" id="{D85CD96B-F692-49A6-85E9-E384C25AB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703">
              <a:extLst>
                <a:ext uri="{FF2B5EF4-FFF2-40B4-BE49-F238E27FC236}">
                  <a16:creationId xmlns:a16="http://schemas.microsoft.com/office/drawing/2014/main" id="{B61CF6ED-2035-4354-9738-FCEC058FD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704">
              <a:extLst>
                <a:ext uri="{FF2B5EF4-FFF2-40B4-BE49-F238E27FC236}">
                  <a16:creationId xmlns:a16="http://schemas.microsoft.com/office/drawing/2014/main" id="{BB33D157-1CEC-4988-9BF1-022C005DB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705">
              <a:extLst>
                <a:ext uri="{FF2B5EF4-FFF2-40B4-BE49-F238E27FC236}">
                  <a16:creationId xmlns:a16="http://schemas.microsoft.com/office/drawing/2014/main" id="{F199415F-70E2-4E9D-8CA0-63D28552D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706">
              <a:extLst>
                <a:ext uri="{FF2B5EF4-FFF2-40B4-BE49-F238E27FC236}">
                  <a16:creationId xmlns:a16="http://schemas.microsoft.com/office/drawing/2014/main" id="{8E5ABC9A-DB78-4600-9576-12788356E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707">
              <a:extLst>
                <a:ext uri="{FF2B5EF4-FFF2-40B4-BE49-F238E27FC236}">
                  <a16:creationId xmlns:a16="http://schemas.microsoft.com/office/drawing/2014/main" id="{25542EB0-B784-40CD-A244-1D4E9510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708">
              <a:extLst>
                <a:ext uri="{FF2B5EF4-FFF2-40B4-BE49-F238E27FC236}">
                  <a16:creationId xmlns:a16="http://schemas.microsoft.com/office/drawing/2014/main" id="{C879E336-3D92-436A-BF77-4F3D3A744D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5205413"/>
              <a:ext cx="1588" cy="112713"/>
            </a:xfrm>
            <a:custGeom>
              <a:avLst/>
              <a:gdLst/>
              <a:ahLst/>
              <a:cxnLst>
                <a:cxn ang="0">
                  <a:pos x="1" y="562"/>
                </a:cxn>
                <a:cxn ang="0">
                  <a:pos x="1" y="562"/>
                </a:cxn>
                <a:cxn ang="0">
                  <a:pos x="0" y="562"/>
                </a:cxn>
                <a:cxn ang="0">
                  <a:pos x="0" y="562"/>
                </a:cxn>
                <a:cxn ang="0">
                  <a:pos x="1" y="56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62">
                  <a:moveTo>
                    <a:pt x="1" y="562"/>
                  </a:moveTo>
                  <a:lnTo>
                    <a:pt x="1" y="562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6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709">
              <a:extLst>
                <a:ext uri="{FF2B5EF4-FFF2-40B4-BE49-F238E27FC236}">
                  <a16:creationId xmlns:a16="http://schemas.microsoft.com/office/drawing/2014/main" id="{085D20EC-C342-42CF-959A-2861EE2FC6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318125"/>
              <a:ext cx="1588" cy="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710">
              <a:extLst>
                <a:ext uri="{FF2B5EF4-FFF2-40B4-BE49-F238E27FC236}">
                  <a16:creationId xmlns:a16="http://schemas.microsoft.com/office/drawing/2014/main" id="{358008BE-CD4F-4987-801A-34508B06C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520541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711">
              <a:extLst>
                <a:ext uri="{FF2B5EF4-FFF2-40B4-BE49-F238E27FC236}">
                  <a16:creationId xmlns:a16="http://schemas.microsoft.com/office/drawing/2014/main" id="{9DB1A865-8067-4D24-BC3A-3371BE01D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6026" y="5205413"/>
              <a:ext cx="1588" cy="112713"/>
            </a:xfrm>
            <a:custGeom>
              <a:avLst/>
              <a:gdLst/>
              <a:ahLst/>
              <a:cxnLst>
                <a:cxn ang="0">
                  <a:pos x="4" y="561"/>
                </a:cxn>
                <a:cxn ang="0">
                  <a:pos x="4" y="561"/>
                </a:cxn>
                <a:cxn ang="0">
                  <a:pos x="0" y="561"/>
                </a:cxn>
                <a:cxn ang="0">
                  <a:pos x="0" y="561"/>
                </a:cxn>
                <a:cxn ang="0">
                  <a:pos x="4" y="562"/>
                </a:cxn>
                <a:cxn ang="0">
                  <a:pos x="4" y="561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562">
                  <a:moveTo>
                    <a:pt x="4" y="561"/>
                  </a:moveTo>
                  <a:lnTo>
                    <a:pt x="4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4" y="562"/>
                  </a:lnTo>
                  <a:lnTo>
                    <a:pt x="4" y="56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712">
              <a:extLst>
                <a:ext uri="{FF2B5EF4-FFF2-40B4-BE49-F238E27FC236}">
                  <a16:creationId xmlns:a16="http://schemas.microsoft.com/office/drawing/2014/main" id="{3CFF1B25-33CB-4F04-A783-58E3CA147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316538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713">
              <a:extLst>
                <a:ext uri="{FF2B5EF4-FFF2-40B4-BE49-F238E27FC236}">
                  <a16:creationId xmlns:a16="http://schemas.microsoft.com/office/drawing/2014/main" id="{369F2CB0-38A9-4A20-A050-7886E8114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205413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714">
              <a:extLst>
                <a:ext uri="{FF2B5EF4-FFF2-40B4-BE49-F238E27FC236}">
                  <a16:creationId xmlns:a16="http://schemas.microsoft.com/office/drawing/2014/main" id="{7FE2EF85-0796-4955-BA64-A4E04D40A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715">
              <a:extLst>
                <a:ext uri="{FF2B5EF4-FFF2-40B4-BE49-F238E27FC236}">
                  <a16:creationId xmlns:a16="http://schemas.microsoft.com/office/drawing/2014/main" id="{281AF690-0711-413F-B5E6-28B253AEA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716">
              <a:extLst>
                <a:ext uri="{FF2B5EF4-FFF2-40B4-BE49-F238E27FC236}">
                  <a16:creationId xmlns:a16="http://schemas.microsoft.com/office/drawing/2014/main" id="{D91843C1-7021-4A56-8F0C-AB3D0D85E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717">
              <a:extLst>
                <a:ext uri="{FF2B5EF4-FFF2-40B4-BE49-F238E27FC236}">
                  <a16:creationId xmlns:a16="http://schemas.microsoft.com/office/drawing/2014/main" id="{E997E5EA-B3BC-4F6A-9990-53F8F6C60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718">
              <a:extLst>
                <a:ext uri="{FF2B5EF4-FFF2-40B4-BE49-F238E27FC236}">
                  <a16:creationId xmlns:a16="http://schemas.microsoft.com/office/drawing/2014/main" id="{A2D32D62-C33A-44C7-BE20-BD04804EA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719">
              <a:extLst>
                <a:ext uri="{FF2B5EF4-FFF2-40B4-BE49-F238E27FC236}">
                  <a16:creationId xmlns:a16="http://schemas.microsoft.com/office/drawing/2014/main" id="{8FCF6578-8E65-49E1-87F9-F0728CC6C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ADF2AF72-4C5F-4871-9A91-841A2BDEDC15}"/>
              </a:ext>
            </a:extLst>
          </p:cNvPr>
          <p:cNvSpPr txBox="1"/>
          <p:nvPr/>
        </p:nvSpPr>
        <p:spPr>
          <a:xfrm>
            <a:off x="4017465" y="4934443"/>
            <a:ext cx="1443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Discount hunters</a:t>
            </a:r>
            <a:endParaRPr lang="bs-Latn-BA" sz="1200" b="1"/>
          </a:p>
        </p:txBody>
      </p:sp>
      <p:pic>
        <p:nvPicPr>
          <p:cNvPr id="110" name="Graphic 109" descr="Bottle">
            <a:extLst>
              <a:ext uri="{FF2B5EF4-FFF2-40B4-BE49-F238E27FC236}">
                <a16:creationId xmlns:a16="http://schemas.microsoft.com/office/drawing/2014/main" id="{3DC418A5-975E-4685-B1B1-23661B2711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9551" y="1267138"/>
            <a:ext cx="246221" cy="246221"/>
          </a:xfrm>
          <a:prstGeom prst="rect">
            <a:avLst/>
          </a:prstGeom>
        </p:spPr>
      </p:pic>
      <p:pic>
        <p:nvPicPr>
          <p:cNvPr id="111" name="Graphic 110" descr="Bottle">
            <a:extLst>
              <a:ext uri="{FF2B5EF4-FFF2-40B4-BE49-F238E27FC236}">
                <a16:creationId xmlns:a16="http://schemas.microsoft.com/office/drawing/2014/main" id="{A4385361-EA7B-4928-9A02-C5C351696D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6208" y="1943465"/>
            <a:ext cx="246221" cy="246221"/>
          </a:xfrm>
          <a:prstGeom prst="rect">
            <a:avLst/>
          </a:prstGeom>
        </p:spPr>
      </p:pic>
      <p:pic>
        <p:nvPicPr>
          <p:cNvPr id="113" name="Graphic 112" descr="Bottle">
            <a:extLst>
              <a:ext uri="{FF2B5EF4-FFF2-40B4-BE49-F238E27FC236}">
                <a16:creationId xmlns:a16="http://schemas.microsoft.com/office/drawing/2014/main" id="{996283DC-A34A-46E6-851B-C5A7D9CFB1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4014" y="2355559"/>
            <a:ext cx="246221" cy="246221"/>
          </a:xfrm>
          <a:prstGeom prst="rect">
            <a:avLst/>
          </a:prstGeom>
        </p:spPr>
      </p:pic>
      <p:pic>
        <p:nvPicPr>
          <p:cNvPr id="115" name="Graphic 114" descr="Bottle">
            <a:extLst>
              <a:ext uri="{FF2B5EF4-FFF2-40B4-BE49-F238E27FC236}">
                <a16:creationId xmlns:a16="http://schemas.microsoft.com/office/drawing/2014/main" id="{607FB089-799D-419A-9770-C268ED275C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5262" y="3043515"/>
            <a:ext cx="246221" cy="246221"/>
          </a:xfrm>
          <a:prstGeom prst="rect">
            <a:avLst/>
          </a:prstGeom>
        </p:spPr>
      </p:pic>
      <p:pic>
        <p:nvPicPr>
          <p:cNvPr id="116" name="Graphic 115" descr="Bottle">
            <a:extLst>
              <a:ext uri="{FF2B5EF4-FFF2-40B4-BE49-F238E27FC236}">
                <a16:creationId xmlns:a16="http://schemas.microsoft.com/office/drawing/2014/main" id="{E1012BF4-3179-4211-A6AC-E0B12D535E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84102" y="3047967"/>
            <a:ext cx="246221" cy="246221"/>
          </a:xfrm>
          <a:prstGeom prst="rect">
            <a:avLst/>
          </a:prstGeom>
        </p:spPr>
      </p:pic>
      <p:pic>
        <p:nvPicPr>
          <p:cNvPr id="117" name="Graphic 116" descr="Bottle">
            <a:extLst>
              <a:ext uri="{FF2B5EF4-FFF2-40B4-BE49-F238E27FC236}">
                <a16:creationId xmlns:a16="http://schemas.microsoft.com/office/drawing/2014/main" id="{EB3CE762-244F-4852-AC4D-D9B697324B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6032" y="3047967"/>
            <a:ext cx="246221" cy="246221"/>
          </a:xfrm>
          <a:prstGeom prst="rect">
            <a:avLst/>
          </a:prstGeom>
        </p:spPr>
      </p:pic>
      <p:pic>
        <p:nvPicPr>
          <p:cNvPr id="120" name="Graphic 119" descr="Bottle">
            <a:extLst>
              <a:ext uri="{FF2B5EF4-FFF2-40B4-BE49-F238E27FC236}">
                <a16:creationId xmlns:a16="http://schemas.microsoft.com/office/drawing/2014/main" id="{3E092E07-0020-4611-942F-49F6F68BFF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24014" y="2692420"/>
            <a:ext cx="246221" cy="246221"/>
          </a:xfrm>
          <a:prstGeom prst="rect">
            <a:avLst/>
          </a:prstGeom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29736D4-9FA5-47DD-87F2-43BAFE8924EA}"/>
              </a:ext>
            </a:extLst>
          </p:cNvPr>
          <p:cNvGrpSpPr/>
          <p:nvPr/>
        </p:nvGrpSpPr>
        <p:grpSpPr>
          <a:xfrm>
            <a:off x="3408858" y="5495794"/>
            <a:ext cx="509990" cy="507800"/>
            <a:chOff x="3338513" y="5022850"/>
            <a:chExt cx="838200" cy="838200"/>
          </a:xfrm>
        </p:grpSpPr>
        <p:sp>
          <p:nvSpPr>
            <p:cNvPr id="122" name="Freeform 675">
              <a:extLst>
                <a:ext uri="{FF2B5EF4-FFF2-40B4-BE49-F238E27FC236}">
                  <a16:creationId xmlns:a16="http://schemas.microsoft.com/office/drawing/2014/main" id="{17356211-1C53-40A2-91EE-4B26128A2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  <a:close/>
                </a:path>
              </a:pathLst>
            </a:custGeom>
            <a:solidFill>
              <a:srgbClr val="BED6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676">
              <a:extLst>
                <a:ext uri="{FF2B5EF4-FFF2-40B4-BE49-F238E27FC236}">
                  <a16:creationId xmlns:a16="http://schemas.microsoft.com/office/drawing/2014/main" id="{6FAFB118-72AC-4312-9B02-619C9331E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022850"/>
              <a:ext cx="838200" cy="838200"/>
            </a:xfrm>
            <a:custGeom>
              <a:avLst/>
              <a:gdLst/>
              <a:ahLst/>
              <a:cxnLst>
                <a:cxn ang="0">
                  <a:pos x="4223" y="2277"/>
                </a:cxn>
                <a:cxn ang="0">
                  <a:pos x="4186" y="2540"/>
                </a:cxn>
                <a:cxn ang="0">
                  <a:pos x="4118" y="2792"/>
                </a:cxn>
                <a:cxn ang="0">
                  <a:pos x="4020" y="3030"/>
                </a:cxn>
                <a:cxn ang="0">
                  <a:pos x="3895" y="3253"/>
                </a:cxn>
                <a:cxn ang="0">
                  <a:pos x="3746" y="3458"/>
                </a:cxn>
                <a:cxn ang="0">
                  <a:pos x="3573" y="3644"/>
                </a:cxn>
                <a:cxn ang="0">
                  <a:pos x="3379" y="3808"/>
                </a:cxn>
                <a:cxn ang="0">
                  <a:pos x="3167" y="3948"/>
                </a:cxn>
                <a:cxn ang="0">
                  <a:pos x="2937" y="4062"/>
                </a:cxn>
                <a:cxn ang="0">
                  <a:pos x="2693" y="4148"/>
                </a:cxn>
                <a:cxn ang="0">
                  <a:pos x="2436" y="4203"/>
                </a:cxn>
                <a:cxn ang="0">
                  <a:pos x="2169" y="4227"/>
                </a:cxn>
                <a:cxn ang="0">
                  <a:pos x="1952" y="4222"/>
                </a:cxn>
                <a:cxn ang="0">
                  <a:pos x="1688" y="4185"/>
                </a:cxn>
                <a:cxn ang="0">
                  <a:pos x="1436" y="4117"/>
                </a:cxn>
                <a:cxn ang="0">
                  <a:pos x="1197" y="4019"/>
                </a:cxn>
                <a:cxn ang="0">
                  <a:pos x="975" y="3895"/>
                </a:cxn>
                <a:cxn ang="0">
                  <a:pos x="769" y="3745"/>
                </a:cxn>
                <a:cxn ang="0">
                  <a:pos x="583" y="3573"/>
                </a:cxn>
                <a:cxn ang="0">
                  <a:pos x="419" y="3379"/>
                </a:cxn>
                <a:cxn ang="0">
                  <a:pos x="280" y="3166"/>
                </a:cxn>
                <a:cxn ang="0">
                  <a:pos x="166" y="2937"/>
                </a:cxn>
                <a:cxn ang="0">
                  <a:pos x="80" y="2693"/>
                </a:cxn>
                <a:cxn ang="0">
                  <a:pos x="24" y="2436"/>
                </a:cxn>
                <a:cxn ang="0">
                  <a:pos x="0" y="2169"/>
                </a:cxn>
                <a:cxn ang="0">
                  <a:pos x="6" y="1951"/>
                </a:cxn>
                <a:cxn ang="0">
                  <a:pos x="42" y="1688"/>
                </a:cxn>
                <a:cxn ang="0">
                  <a:pos x="111" y="1436"/>
                </a:cxn>
                <a:cxn ang="0">
                  <a:pos x="208" y="1197"/>
                </a:cxn>
                <a:cxn ang="0">
                  <a:pos x="333" y="975"/>
                </a:cxn>
                <a:cxn ang="0">
                  <a:pos x="482" y="770"/>
                </a:cxn>
                <a:cxn ang="0">
                  <a:pos x="655" y="583"/>
                </a:cxn>
                <a:cxn ang="0">
                  <a:pos x="849" y="420"/>
                </a:cxn>
                <a:cxn ang="0">
                  <a:pos x="1061" y="280"/>
                </a:cxn>
                <a:cxn ang="0">
                  <a:pos x="1291" y="166"/>
                </a:cxn>
                <a:cxn ang="0">
                  <a:pos x="1535" y="81"/>
                </a:cxn>
                <a:cxn ang="0">
                  <a:pos x="1792" y="24"/>
                </a:cxn>
                <a:cxn ang="0">
                  <a:pos x="2060" y="1"/>
                </a:cxn>
                <a:cxn ang="0">
                  <a:pos x="2277" y="6"/>
                </a:cxn>
                <a:cxn ang="0">
                  <a:pos x="2540" y="43"/>
                </a:cxn>
                <a:cxn ang="0">
                  <a:pos x="2793" y="111"/>
                </a:cxn>
                <a:cxn ang="0">
                  <a:pos x="3031" y="208"/>
                </a:cxn>
                <a:cxn ang="0">
                  <a:pos x="3254" y="333"/>
                </a:cxn>
                <a:cxn ang="0">
                  <a:pos x="3459" y="482"/>
                </a:cxn>
                <a:cxn ang="0">
                  <a:pos x="3645" y="655"/>
                </a:cxn>
                <a:cxn ang="0">
                  <a:pos x="3809" y="849"/>
                </a:cxn>
                <a:cxn ang="0">
                  <a:pos x="3949" y="1061"/>
                </a:cxn>
                <a:cxn ang="0">
                  <a:pos x="4062" y="1291"/>
                </a:cxn>
                <a:cxn ang="0">
                  <a:pos x="4149" y="1535"/>
                </a:cxn>
                <a:cxn ang="0">
                  <a:pos x="4204" y="1792"/>
                </a:cxn>
                <a:cxn ang="0">
                  <a:pos x="4228" y="2059"/>
                </a:cxn>
              </a:cxnLst>
              <a:rect l="0" t="0" r="r" b="b"/>
              <a:pathLst>
                <a:path w="4229" h="4228">
                  <a:moveTo>
                    <a:pt x="4229" y="2114"/>
                  </a:moveTo>
                  <a:lnTo>
                    <a:pt x="4229" y="2114"/>
                  </a:lnTo>
                  <a:lnTo>
                    <a:pt x="4228" y="2169"/>
                  </a:lnTo>
                  <a:lnTo>
                    <a:pt x="4226" y="2222"/>
                  </a:lnTo>
                  <a:lnTo>
                    <a:pt x="4223" y="2277"/>
                  </a:lnTo>
                  <a:lnTo>
                    <a:pt x="4218" y="2330"/>
                  </a:lnTo>
                  <a:lnTo>
                    <a:pt x="4211" y="2383"/>
                  </a:lnTo>
                  <a:lnTo>
                    <a:pt x="4204" y="2436"/>
                  </a:lnTo>
                  <a:lnTo>
                    <a:pt x="4196" y="2488"/>
                  </a:lnTo>
                  <a:lnTo>
                    <a:pt x="4186" y="2540"/>
                  </a:lnTo>
                  <a:lnTo>
                    <a:pt x="4174" y="2591"/>
                  </a:lnTo>
                  <a:lnTo>
                    <a:pt x="4162" y="2643"/>
                  </a:lnTo>
                  <a:lnTo>
                    <a:pt x="4149" y="2693"/>
                  </a:lnTo>
                  <a:lnTo>
                    <a:pt x="4133" y="2742"/>
                  </a:lnTo>
                  <a:lnTo>
                    <a:pt x="4118" y="2792"/>
                  </a:lnTo>
                  <a:lnTo>
                    <a:pt x="4100" y="2840"/>
                  </a:lnTo>
                  <a:lnTo>
                    <a:pt x="4082" y="2889"/>
                  </a:lnTo>
                  <a:lnTo>
                    <a:pt x="4062" y="2937"/>
                  </a:lnTo>
                  <a:lnTo>
                    <a:pt x="4041" y="2984"/>
                  </a:lnTo>
                  <a:lnTo>
                    <a:pt x="4020" y="3030"/>
                  </a:lnTo>
                  <a:lnTo>
                    <a:pt x="3997" y="3076"/>
                  </a:lnTo>
                  <a:lnTo>
                    <a:pt x="3973" y="3122"/>
                  </a:lnTo>
                  <a:lnTo>
                    <a:pt x="3949" y="3166"/>
                  </a:lnTo>
                  <a:lnTo>
                    <a:pt x="3923" y="3210"/>
                  </a:lnTo>
                  <a:lnTo>
                    <a:pt x="3895" y="3253"/>
                  </a:lnTo>
                  <a:lnTo>
                    <a:pt x="3867" y="3296"/>
                  </a:lnTo>
                  <a:lnTo>
                    <a:pt x="3838" y="3338"/>
                  </a:lnTo>
                  <a:lnTo>
                    <a:pt x="3809" y="3379"/>
                  </a:lnTo>
                  <a:lnTo>
                    <a:pt x="3778" y="3419"/>
                  </a:lnTo>
                  <a:lnTo>
                    <a:pt x="3746" y="3458"/>
                  </a:lnTo>
                  <a:lnTo>
                    <a:pt x="3713" y="3498"/>
                  </a:lnTo>
                  <a:lnTo>
                    <a:pt x="3680" y="3536"/>
                  </a:lnTo>
                  <a:lnTo>
                    <a:pt x="3645" y="3573"/>
                  </a:lnTo>
                  <a:lnTo>
                    <a:pt x="3610" y="3609"/>
                  </a:lnTo>
                  <a:lnTo>
                    <a:pt x="3573" y="3644"/>
                  </a:lnTo>
                  <a:lnTo>
                    <a:pt x="3535" y="3679"/>
                  </a:lnTo>
                  <a:lnTo>
                    <a:pt x="3498" y="3712"/>
                  </a:lnTo>
                  <a:lnTo>
                    <a:pt x="3459" y="3745"/>
                  </a:lnTo>
                  <a:lnTo>
                    <a:pt x="3420" y="3777"/>
                  </a:lnTo>
                  <a:lnTo>
                    <a:pt x="3379" y="3808"/>
                  </a:lnTo>
                  <a:lnTo>
                    <a:pt x="3339" y="3838"/>
                  </a:lnTo>
                  <a:lnTo>
                    <a:pt x="3296" y="3866"/>
                  </a:lnTo>
                  <a:lnTo>
                    <a:pt x="3254" y="3895"/>
                  </a:lnTo>
                  <a:lnTo>
                    <a:pt x="3211" y="3922"/>
                  </a:lnTo>
                  <a:lnTo>
                    <a:pt x="3167" y="3948"/>
                  </a:lnTo>
                  <a:lnTo>
                    <a:pt x="3122" y="3973"/>
                  </a:lnTo>
                  <a:lnTo>
                    <a:pt x="3077" y="3996"/>
                  </a:lnTo>
                  <a:lnTo>
                    <a:pt x="3031" y="4019"/>
                  </a:lnTo>
                  <a:lnTo>
                    <a:pt x="2984" y="4042"/>
                  </a:lnTo>
                  <a:lnTo>
                    <a:pt x="2937" y="4062"/>
                  </a:lnTo>
                  <a:lnTo>
                    <a:pt x="2889" y="4082"/>
                  </a:lnTo>
                  <a:lnTo>
                    <a:pt x="2841" y="4099"/>
                  </a:lnTo>
                  <a:lnTo>
                    <a:pt x="2793" y="4117"/>
                  </a:lnTo>
                  <a:lnTo>
                    <a:pt x="2743" y="4133"/>
                  </a:lnTo>
                  <a:lnTo>
                    <a:pt x="2693" y="4148"/>
                  </a:lnTo>
                  <a:lnTo>
                    <a:pt x="2643" y="4161"/>
                  </a:lnTo>
                  <a:lnTo>
                    <a:pt x="2592" y="4173"/>
                  </a:lnTo>
                  <a:lnTo>
                    <a:pt x="2540" y="4185"/>
                  </a:lnTo>
                  <a:lnTo>
                    <a:pt x="2489" y="4195"/>
                  </a:lnTo>
                  <a:lnTo>
                    <a:pt x="2436" y="4203"/>
                  </a:lnTo>
                  <a:lnTo>
                    <a:pt x="2383" y="4210"/>
                  </a:lnTo>
                  <a:lnTo>
                    <a:pt x="2331" y="4217"/>
                  </a:lnTo>
                  <a:lnTo>
                    <a:pt x="2277" y="4222"/>
                  </a:lnTo>
                  <a:lnTo>
                    <a:pt x="2223" y="4225"/>
                  </a:lnTo>
                  <a:lnTo>
                    <a:pt x="2169" y="4227"/>
                  </a:lnTo>
                  <a:lnTo>
                    <a:pt x="2115" y="4228"/>
                  </a:lnTo>
                  <a:lnTo>
                    <a:pt x="2115" y="4228"/>
                  </a:lnTo>
                  <a:lnTo>
                    <a:pt x="2060" y="4227"/>
                  </a:lnTo>
                  <a:lnTo>
                    <a:pt x="2005" y="4225"/>
                  </a:lnTo>
                  <a:lnTo>
                    <a:pt x="1952" y="4222"/>
                  </a:lnTo>
                  <a:lnTo>
                    <a:pt x="1898" y="4217"/>
                  </a:lnTo>
                  <a:lnTo>
                    <a:pt x="1845" y="4210"/>
                  </a:lnTo>
                  <a:lnTo>
                    <a:pt x="1792" y="4203"/>
                  </a:lnTo>
                  <a:lnTo>
                    <a:pt x="1739" y="4195"/>
                  </a:lnTo>
                  <a:lnTo>
                    <a:pt x="1688" y="4185"/>
                  </a:lnTo>
                  <a:lnTo>
                    <a:pt x="1636" y="4173"/>
                  </a:lnTo>
                  <a:lnTo>
                    <a:pt x="1586" y="4161"/>
                  </a:lnTo>
                  <a:lnTo>
                    <a:pt x="1535" y="4148"/>
                  </a:lnTo>
                  <a:lnTo>
                    <a:pt x="1486" y="4133"/>
                  </a:lnTo>
                  <a:lnTo>
                    <a:pt x="1436" y="4117"/>
                  </a:lnTo>
                  <a:lnTo>
                    <a:pt x="1387" y="4099"/>
                  </a:lnTo>
                  <a:lnTo>
                    <a:pt x="1339" y="4082"/>
                  </a:lnTo>
                  <a:lnTo>
                    <a:pt x="1291" y="4062"/>
                  </a:lnTo>
                  <a:lnTo>
                    <a:pt x="1244" y="4042"/>
                  </a:lnTo>
                  <a:lnTo>
                    <a:pt x="1197" y="4019"/>
                  </a:lnTo>
                  <a:lnTo>
                    <a:pt x="1152" y="3996"/>
                  </a:lnTo>
                  <a:lnTo>
                    <a:pt x="1107" y="3973"/>
                  </a:lnTo>
                  <a:lnTo>
                    <a:pt x="1061" y="3948"/>
                  </a:lnTo>
                  <a:lnTo>
                    <a:pt x="1018" y="3922"/>
                  </a:lnTo>
                  <a:lnTo>
                    <a:pt x="975" y="3895"/>
                  </a:lnTo>
                  <a:lnTo>
                    <a:pt x="932" y="3866"/>
                  </a:lnTo>
                  <a:lnTo>
                    <a:pt x="890" y="3838"/>
                  </a:lnTo>
                  <a:lnTo>
                    <a:pt x="849" y="3808"/>
                  </a:lnTo>
                  <a:lnTo>
                    <a:pt x="809" y="3777"/>
                  </a:lnTo>
                  <a:lnTo>
                    <a:pt x="769" y="3745"/>
                  </a:lnTo>
                  <a:lnTo>
                    <a:pt x="731" y="3712"/>
                  </a:lnTo>
                  <a:lnTo>
                    <a:pt x="693" y="3679"/>
                  </a:lnTo>
                  <a:lnTo>
                    <a:pt x="655" y="3644"/>
                  </a:lnTo>
                  <a:lnTo>
                    <a:pt x="619" y="3609"/>
                  </a:lnTo>
                  <a:lnTo>
                    <a:pt x="583" y="3573"/>
                  </a:lnTo>
                  <a:lnTo>
                    <a:pt x="549" y="3536"/>
                  </a:lnTo>
                  <a:lnTo>
                    <a:pt x="515" y="3498"/>
                  </a:lnTo>
                  <a:lnTo>
                    <a:pt x="482" y="3458"/>
                  </a:lnTo>
                  <a:lnTo>
                    <a:pt x="450" y="3419"/>
                  </a:lnTo>
                  <a:lnTo>
                    <a:pt x="419" y="3379"/>
                  </a:lnTo>
                  <a:lnTo>
                    <a:pt x="390" y="3338"/>
                  </a:lnTo>
                  <a:lnTo>
                    <a:pt x="361" y="3296"/>
                  </a:lnTo>
                  <a:lnTo>
                    <a:pt x="333" y="3253"/>
                  </a:lnTo>
                  <a:lnTo>
                    <a:pt x="306" y="3210"/>
                  </a:lnTo>
                  <a:lnTo>
                    <a:pt x="280" y="3166"/>
                  </a:lnTo>
                  <a:lnTo>
                    <a:pt x="255" y="3122"/>
                  </a:lnTo>
                  <a:lnTo>
                    <a:pt x="231" y="3076"/>
                  </a:lnTo>
                  <a:lnTo>
                    <a:pt x="208" y="3030"/>
                  </a:lnTo>
                  <a:lnTo>
                    <a:pt x="187" y="2984"/>
                  </a:lnTo>
                  <a:lnTo>
                    <a:pt x="166" y="2937"/>
                  </a:lnTo>
                  <a:lnTo>
                    <a:pt x="146" y="2889"/>
                  </a:lnTo>
                  <a:lnTo>
                    <a:pt x="128" y="2840"/>
                  </a:lnTo>
                  <a:lnTo>
                    <a:pt x="111" y="2792"/>
                  </a:lnTo>
                  <a:lnTo>
                    <a:pt x="95" y="2742"/>
                  </a:lnTo>
                  <a:lnTo>
                    <a:pt x="80" y="2693"/>
                  </a:lnTo>
                  <a:lnTo>
                    <a:pt x="66" y="2643"/>
                  </a:lnTo>
                  <a:lnTo>
                    <a:pt x="54" y="2591"/>
                  </a:lnTo>
                  <a:lnTo>
                    <a:pt x="42" y="2540"/>
                  </a:lnTo>
                  <a:lnTo>
                    <a:pt x="33" y="2488"/>
                  </a:lnTo>
                  <a:lnTo>
                    <a:pt x="24" y="2436"/>
                  </a:lnTo>
                  <a:lnTo>
                    <a:pt x="17" y="2383"/>
                  </a:lnTo>
                  <a:lnTo>
                    <a:pt x="10" y="2330"/>
                  </a:lnTo>
                  <a:lnTo>
                    <a:pt x="6" y="2277"/>
                  </a:lnTo>
                  <a:lnTo>
                    <a:pt x="2" y="2222"/>
                  </a:lnTo>
                  <a:lnTo>
                    <a:pt x="0" y="2169"/>
                  </a:lnTo>
                  <a:lnTo>
                    <a:pt x="0" y="2114"/>
                  </a:lnTo>
                  <a:lnTo>
                    <a:pt x="0" y="2114"/>
                  </a:lnTo>
                  <a:lnTo>
                    <a:pt x="0" y="2059"/>
                  </a:lnTo>
                  <a:lnTo>
                    <a:pt x="2" y="2005"/>
                  </a:lnTo>
                  <a:lnTo>
                    <a:pt x="6" y="1951"/>
                  </a:lnTo>
                  <a:lnTo>
                    <a:pt x="10" y="1898"/>
                  </a:lnTo>
                  <a:lnTo>
                    <a:pt x="17" y="1844"/>
                  </a:lnTo>
                  <a:lnTo>
                    <a:pt x="24" y="1792"/>
                  </a:lnTo>
                  <a:lnTo>
                    <a:pt x="33" y="1740"/>
                  </a:lnTo>
                  <a:lnTo>
                    <a:pt x="42" y="1688"/>
                  </a:lnTo>
                  <a:lnTo>
                    <a:pt x="54" y="1636"/>
                  </a:lnTo>
                  <a:lnTo>
                    <a:pt x="66" y="1586"/>
                  </a:lnTo>
                  <a:lnTo>
                    <a:pt x="80" y="1535"/>
                  </a:lnTo>
                  <a:lnTo>
                    <a:pt x="95" y="1486"/>
                  </a:lnTo>
                  <a:lnTo>
                    <a:pt x="111" y="1436"/>
                  </a:lnTo>
                  <a:lnTo>
                    <a:pt x="128" y="1387"/>
                  </a:lnTo>
                  <a:lnTo>
                    <a:pt x="146" y="1338"/>
                  </a:lnTo>
                  <a:lnTo>
                    <a:pt x="166" y="1291"/>
                  </a:lnTo>
                  <a:lnTo>
                    <a:pt x="187" y="1244"/>
                  </a:lnTo>
                  <a:lnTo>
                    <a:pt x="208" y="1197"/>
                  </a:lnTo>
                  <a:lnTo>
                    <a:pt x="231" y="1152"/>
                  </a:lnTo>
                  <a:lnTo>
                    <a:pt x="255" y="1107"/>
                  </a:lnTo>
                  <a:lnTo>
                    <a:pt x="280" y="1061"/>
                  </a:lnTo>
                  <a:lnTo>
                    <a:pt x="306" y="1018"/>
                  </a:lnTo>
                  <a:lnTo>
                    <a:pt x="333" y="975"/>
                  </a:lnTo>
                  <a:lnTo>
                    <a:pt x="361" y="932"/>
                  </a:lnTo>
                  <a:lnTo>
                    <a:pt x="390" y="890"/>
                  </a:lnTo>
                  <a:lnTo>
                    <a:pt x="419" y="849"/>
                  </a:lnTo>
                  <a:lnTo>
                    <a:pt x="450" y="809"/>
                  </a:lnTo>
                  <a:lnTo>
                    <a:pt x="482" y="770"/>
                  </a:lnTo>
                  <a:lnTo>
                    <a:pt x="515" y="731"/>
                  </a:lnTo>
                  <a:lnTo>
                    <a:pt x="549" y="692"/>
                  </a:lnTo>
                  <a:lnTo>
                    <a:pt x="583" y="655"/>
                  </a:lnTo>
                  <a:lnTo>
                    <a:pt x="619" y="619"/>
                  </a:lnTo>
                  <a:lnTo>
                    <a:pt x="655" y="583"/>
                  </a:lnTo>
                  <a:lnTo>
                    <a:pt x="693" y="549"/>
                  </a:lnTo>
                  <a:lnTo>
                    <a:pt x="731" y="515"/>
                  </a:lnTo>
                  <a:lnTo>
                    <a:pt x="769" y="482"/>
                  </a:lnTo>
                  <a:lnTo>
                    <a:pt x="809" y="451"/>
                  </a:lnTo>
                  <a:lnTo>
                    <a:pt x="849" y="420"/>
                  </a:lnTo>
                  <a:lnTo>
                    <a:pt x="890" y="390"/>
                  </a:lnTo>
                  <a:lnTo>
                    <a:pt x="932" y="361"/>
                  </a:lnTo>
                  <a:lnTo>
                    <a:pt x="975" y="333"/>
                  </a:lnTo>
                  <a:lnTo>
                    <a:pt x="1018" y="306"/>
                  </a:lnTo>
                  <a:lnTo>
                    <a:pt x="1061" y="280"/>
                  </a:lnTo>
                  <a:lnTo>
                    <a:pt x="1107" y="256"/>
                  </a:lnTo>
                  <a:lnTo>
                    <a:pt x="1152" y="231"/>
                  </a:lnTo>
                  <a:lnTo>
                    <a:pt x="1197" y="208"/>
                  </a:lnTo>
                  <a:lnTo>
                    <a:pt x="1244" y="187"/>
                  </a:lnTo>
                  <a:lnTo>
                    <a:pt x="1291" y="166"/>
                  </a:lnTo>
                  <a:lnTo>
                    <a:pt x="1339" y="146"/>
                  </a:lnTo>
                  <a:lnTo>
                    <a:pt x="1387" y="128"/>
                  </a:lnTo>
                  <a:lnTo>
                    <a:pt x="1436" y="111"/>
                  </a:lnTo>
                  <a:lnTo>
                    <a:pt x="1486" y="95"/>
                  </a:lnTo>
                  <a:lnTo>
                    <a:pt x="1535" y="81"/>
                  </a:lnTo>
                  <a:lnTo>
                    <a:pt x="1586" y="66"/>
                  </a:lnTo>
                  <a:lnTo>
                    <a:pt x="1636" y="54"/>
                  </a:lnTo>
                  <a:lnTo>
                    <a:pt x="1688" y="43"/>
                  </a:lnTo>
                  <a:lnTo>
                    <a:pt x="1739" y="33"/>
                  </a:lnTo>
                  <a:lnTo>
                    <a:pt x="1792" y="24"/>
                  </a:lnTo>
                  <a:lnTo>
                    <a:pt x="1845" y="17"/>
                  </a:lnTo>
                  <a:lnTo>
                    <a:pt x="1898" y="10"/>
                  </a:lnTo>
                  <a:lnTo>
                    <a:pt x="1952" y="6"/>
                  </a:lnTo>
                  <a:lnTo>
                    <a:pt x="2005" y="3"/>
                  </a:lnTo>
                  <a:lnTo>
                    <a:pt x="2060" y="1"/>
                  </a:lnTo>
                  <a:lnTo>
                    <a:pt x="2115" y="0"/>
                  </a:lnTo>
                  <a:lnTo>
                    <a:pt x="2115" y="0"/>
                  </a:lnTo>
                  <a:lnTo>
                    <a:pt x="2169" y="1"/>
                  </a:lnTo>
                  <a:lnTo>
                    <a:pt x="2223" y="3"/>
                  </a:lnTo>
                  <a:lnTo>
                    <a:pt x="2277" y="6"/>
                  </a:lnTo>
                  <a:lnTo>
                    <a:pt x="2331" y="10"/>
                  </a:lnTo>
                  <a:lnTo>
                    <a:pt x="2383" y="17"/>
                  </a:lnTo>
                  <a:lnTo>
                    <a:pt x="2436" y="24"/>
                  </a:lnTo>
                  <a:lnTo>
                    <a:pt x="2489" y="33"/>
                  </a:lnTo>
                  <a:lnTo>
                    <a:pt x="2540" y="43"/>
                  </a:lnTo>
                  <a:lnTo>
                    <a:pt x="2592" y="54"/>
                  </a:lnTo>
                  <a:lnTo>
                    <a:pt x="2643" y="66"/>
                  </a:lnTo>
                  <a:lnTo>
                    <a:pt x="2693" y="81"/>
                  </a:lnTo>
                  <a:lnTo>
                    <a:pt x="2743" y="95"/>
                  </a:lnTo>
                  <a:lnTo>
                    <a:pt x="2793" y="111"/>
                  </a:lnTo>
                  <a:lnTo>
                    <a:pt x="2841" y="128"/>
                  </a:lnTo>
                  <a:lnTo>
                    <a:pt x="2889" y="146"/>
                  </a:lnTo>
                  <a:lnTo>
                    <a:pt x="2937" y="166"/>
                  </a:lnTo>
                  <a:lnTo>
                    <a:pt x="2984" y="187"/>
                  </a:lnTo>
                  <a:lnTo>
                    <a:pt x="3031" y="208"/>
                  </a:lnTo>
                  <a:lnTo>
                    <a:pt x="3077" y="231"/>
                  </a:lnTo>
                  <a:lnTo>
                    <a:pt x="3122" y="256"/>
                  </a:lnTo>
                  <a:lnTo>
                    <a:pt x="3167" y="280"/>
                  </a:lnTo>
                  <a:lnTo>
                    <a:pt x="3211" y="306"/>
                  </a:lnTo>
                  <a:lnTo>
                    <a:pt x="3254" y="333"/>
                  </a:lnTo>
                  <a:lnTo>
                    <a:pt x="3296" y="361"/>
                  </a:lnTo>
                  <a:lnTo>
                    <a:pt x="3339" y="390"/>
                  </a:lnTo>
                  <a:lnTo>
                    <a:pt x="3379" y="420"/>
                  </a:lnTo>
                  <a:lnTo>
                    <a:pt x="3420" y="451"/>
                  </a:lnTo>
                  <a:lnTo>
                    <a:pt x="3459" y="482"/>
                  </a:lnTo>
                  <a:lnTo>
                    <a:pt x="3498" y="515"/>
                  </a:lnTo>
                  <a:lnTo>
                    <a:pt x="3535" y="549"/>
                  </a:lnTo>
                  <a:lnTo>
                    <a:pt x="3573" y="583"/>
                  </a:lnTo>
                  <a:lnTo>
                    <a:pt x="3610" y="619"/>
                  </a:lnTo>
                  <a:lnTo>
                    <a:pt x="3645" y="655"/>
                  </a:lnTo>
                  <a:lnTo>
                    <a:pt x="3680" y="692"/>
                  </a:lnTo>
                  <a:lnTo>
                    <a:pt x="3713" y="731"/>
                  </a:lnTo>
                  <a:lnTo>
                    <a:pt x="3746" y="770"/>
                  </a:lnTo>
                  <a:lnTo>
                    <a:pt x="3778" y="809"/>
                  </a:lnTo>
                  <a:lnTo>
                    <a:pt x="3809" y="849"/>
                  </a:lnTo>
                  <a:lnTo>
                    <a:pt x="3838" y="890"/>
                  </a:lnTo>
                  <a:lnTo>
                    <a:pt x="3867" y="932"/>
                  </a:lnTo>
                  <a:lnTo>
                    <a:pt x="3895" y="975"/>
                  </a:lnTo>
                  <a:lnTo>
                    <a:pt x="3923" y="1018"/>
                  </a:lnTo>
                  <a:lnTo>
                    <a:pt x="3949" y="1061"/>
                  </a:lnTo>
                  <a:lnTo>
                    <a:pt x="3973" y="1107"/>
                  </a:lnTo>
                  <a:lnTo>
                    <a:pt x="3997" y="1152"/>
                  </a:lnTo>
                  <a:lnTo>
                    <a:pt x="4020" y="1197"/>
                  </a:lnTo>
                  <a:lnTo>
                    <a:pt x="4041" y="1244"/>
                  </a:lnTo>
                  <a:lnTo>
                    <a:pt x="4062" y="1291"/>
                  </a:lnTo>
                  <a:lnTo>
                    <a:pt x="4082" y="1338"/>
                  </a:lnTo>
                  <a:lnTo>
                    <a:pt x="4100" y="1387"/>
                  </a:lnTo>
                  <a:lnTo>
                    <a:pt x="4118" y="1436"/>
                  </a:lnTo>
                  <a:lnTo>
                    <a:pt x="4133" y="1486"/>
                  </a:lnTo>
                  <a:lnTo>
                    <a:pt x="4149" y="1535"/>
                  </a:lnTo>
                  <a:lnTo>
                    <a:pt x="4162" y="1586"/>
                  </a:lnTo>
                  <a:lnTo>
                    <a:pt x="4174" y="1636"/>
                  </a:lnTo>
                  <a:lnTo>
                    <a:pt x="4186" y="1688"/>
                  </a:lnTo>
                  <a:lnTo>
                    <a:pt x="4196" y="1740"/>
                  </a:lnTo>
                  <a:lnTo>
                    <a:pt x="4204" y="1792"/>
                  </a:lnTo>
                  <a:lnTo>
                    <a:pt x="4211" y="1844"/>
                  </a:lnTo>
                  <a:lnTo>
                    <a:pt x="4218" y="1898"/>
                  </a:lnTo>
                  <a:lnTo>
                    <a:pt x="4223" y="1951"/>
                  </a:lnTo>
                  <a:lnTo>
                    <a:pt x="4226" y="2005"/>
                  </a:lnTo>
                  <a:lnTo>
                    <a:pt x="4228" y="2059"/>
                  </a:lnTo>
                  <a:lnTo>
                    <a:pt x="4229" y="211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677">
              <a:extLst>
                <a:ext uri="{FF2B5EF4-FFF2-40B4-BE49-F238E27FC236}">
                  <a16:creationId xmlns:a16="http://schemas.microsoft.com/office/drawing/2014/main" id="{A6C6B7D2-4603-45D9-A8A8-31FCE4ACF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678">
              <a:extLst>
                <a:ext uri="{FF2B5EF4-FFF2-40B4-BE49-F238E27FC236}">
                  <a16:creationId xmlns:a16="http://schemas.microsoft.com/office/drawing/2014/main" id="{AA37DACC-89D9-438C-849F-289CC172F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205413"/>
              <a:ext cx="630238" cy="649288"/>
            </a:xfrm>
            <a:custGeom>
              <a:avLst/>
              <a:gdLst/>
              <a:ahLst/>
              <a:cxnLst>
                <a:cxn ang="0">
                  <a:pos x="1347" y="50"/>
                </a:cxn>
                <a:cxn ang="0">
                  <a:pos x="1307" y="31"/>
                </a:cxn>
                <a:cxn ang="0">
                  <a:pos x="1225" y="3"/>
                </a:cxn>
                <a:cxn ang="0">
                  <a:pos x="1144" y="0"/>
                </a:cxn>
                <a:cxn ang="0">
                  <a:pos x="1087" y="5"/>
                </a:cxn>
                <a:cxn ang="0">
                  <a:pos x="1034" y="22"/>
                </a:cxn>
                <a:cxn ang="0">
                  <a:pos x="987" y="48"/>
                </a:cxn>
                <a:cxn ang="0">
                  <a:pos x="945" y="83"/>
                </a:cxn>
                <a:cxn ang="0">
                  <a:pos x="911" y="124"/>
                </a:cxn>
                <a:cxn ang="0">
                  <a:pos x="885" y="171"/>
                </a:cxn>
                <a:cxn ang="0">
                  <a:pos x="869" y="224"/>
                </a:cxn>
                <a:cxn ang="0">
                  <a:pos x="863" y="281"/>
                </a:cxn>
                <a:cxn ang="0">
                  <a:pos x="866" y="324"/>
                </a:cxn>
                <a:cxn ang="0">
                  <a:pos x="880" y="377"/>
                </a:cxn>
                <a:cxn ang="0">
                  <a:pos x="904" y="427"/>
                </a:cxn>
                <a:cxn ang="0">
                  <a:pos x="935" y="470"/>
                </a:cxn>
                <a:cxn ang="0">
                  <a:pos x="963" y="498"/>
                </a:cxn>
                <a:cxn ang="0">
                  <a:pos x="1088" y="674"/>
                </a:cxn>
                <a:cxn ang="0">
                  <a:pos x="896" y="705"/>
                </a:cxn>
                <a:cxn ang="0">
                  <a:pos x="762" y="749"/>
                </a:cxn>
                <a:cxn ang="0">
                  <a:pos x="667" y="795"/>
                </a:cxn>
                <a:cxn ang="0">
                  <a:pos x="593" y="839"/>
                </a:cxn>
                <a:cxn ang="0">
                  <a:pos x="512" y="899"/>
                </a:cxn>
                <a:cxn ang="0">
                  <a:pos x="412" y="1000"/>
                </a:cxn>
                <a:cxn ang="0">
                  <a:pos x="355" y="1077"/>
                </a:cxn>
                <a:cxn ang="0">
                  <a:pos x="316" y="1145"/>
                </a:cxn>
                <a:cxn ang="0">
                  <a:pos x="273" y="1255"/>
                </a:cxn>
                <a:cxn ang="0">
                  <a:pos x="73" y="1255"/>
                </a:cxn>
                <a:cxn ang="0">
                  <a:pos x="45" y="1260"/>
                </a:cxn>
                <a:cxn ang="0">
                  <a:pos x="21" y="1277"/>
                </a:cxn>
                <a:cxn ang="0">
                  <a:pos x="6" y="1299"/>
                </a:cxn>
                <a:cxn ang="0">
                  <a:pos x="0" y="1328"/>
                </a:cxn>
                <a:cxn ang="0">
                  <a:pos x="0" y="1576"/>
                </a:cxn>
                <a:cxn ang="0">
                  <a:pos x="4" y="1600"/>
                </a:cxn>
                <a:cxn ang="0">
                  <a:pos x="18" y="1628"/>
                </a:cxn>
                <a:cxn ang="0">
                  <a:pos x="30" y="1640"/>
                </a:cxn>
                <a:cxn ang="0">
                  <a:pos x="605" y="2311"/>
                </a:cxn>
                <a:cxn ang="0">
                  <a:pos x="613" y="2337"/>
                </a:cxn>
                <a:cxn ang="0">
                  <a:pos x="624" y="2353"/>
                </a:cxn>
                <a:cxn ang="0">
                  <a:pos x="1540" y="3269"/>
                </a:cxn>
                <a:cxn ang="0">
                  <a:pos x="1687" y="3238"/>
                </a:cxn>
                <a:cxn ang="0">
                  <a:pos x="1873" y="3183"/>
                </a:cxn>
                <a:cxn ang="0">
                  <a:pos x="2052" y="3110"/>
                </a:cxn>
                <a:cxn ang="0">
                  <a:pos x="2223" y="3023"/>
                </a:cxn>
                <a:cxn ang="0">
                  <a:pos x="2383" y="2921"/>
                </a:cxn>
                <a:cxn ang="0">
                  <a:pos x="2535" y="2804"/>
                </a:cxn>
                <a:cxn ang="0">
                  <a:pos x="2674" y="2676"/>
                </a:cxn>
                <a:cxn ang="0">
                  <a:pos x="2802" y="2536"/>
                </a:cxn>
                <a:cxn ang="0">
                  <a:pos x="2889" y="2423"/>
                </a:cxn>
                <a:cxn ang="0">
                  <a:pos x="2975" y="2296"/>
                </a:cxn>
                <a:cxn ang="0">
                  <a:pos x="3050" y="2161"/>
                </a:cxn>
                <a:cxn ang="0">
                  <a:pos x="3117" y="2022"/>
                </a:cxn>
                <a:cxn ang="0">
                  <a:pos x="3173" y="1875"/>
                </a:cxn>
              </a:cxnLst>
              <a:rect l="0" t="0" r="r" b="b"/>
              <a:pathLst>
                <a:path w="3173" h="3269">
                  <a:moveTo>
                    <a:pt x="2137" y="840"/>
                  </a:moveTo>
                  <a:lnTo>
                    <a:pt x="1379" y="83"/>
                  </a:lnTo>
                  <a:lnTo>
                    <a:pt x="1361" y="64"/>
                  </a:lnTo>
                  <a:lnTo>
                    <a:pt x="1347" y="50"/>
                  </a:lnTo>
                  <a:lnTo>
                    <a:pt x="1345" y="53"/>
                  </a:lnTo>
                  <a:lnTo>
                    <a:pt x="1345" y="53"/>
                  </a:lnTo>
                  <a:lnTo>
                    <a:pt x="1326" y="42"/>
                  </a:lnTo>
                  <a:lnTo>
                    <a:pt x="1307" y="31"/>
                  </a:lnTo>
                  <a:lnTo>
                    <a:pt x="1288" y="22"/>
                  </a:lnTo>
                  <a:lnTo>
                    <a:pt x="1268" y="14"/>
                  </a:lnTo>
                  <a:lnTo>
                    <a:pt x="1247" y="9"/>
                  </a:lnTo>
                  <a:lnTo>
                    <a:pt x="1225" y="3"/>
                  </a:lnTo>
                  <a:lnTo>
                    <a:pt x="1203" y="1"/>
                  </a:lnTo>
                  <a:lnTo>
                    <a:pt x="1181" y="0"/>
                  </a:lnTo>
                  <a:lnTo>
                    <a:pt x="1144" y="0"/>
                  </a:lnTo>
                  <a:lnTo>
                    <a:pt x="1144" y="0"/>
                  </a:lnTo>
                  <a:lnTo>
                    <a:pt x="1129" y="0"/>
                  </a:lnTo>
                  <a:lnTo>
                    <a:pt x="1115" y="1"/>
                  </a:lnTo>
                  <a:lnTo>
                    <a:pt x="1101" y="3"/>
                  </a:lnTo>
                  <a:lnTo>
                    <a:pt x="1087" y="5"/>
                  </a:lnTo>
                  <a:lnTo>
                    <a:pt x="1074" y="9"/>
                  </a:lnTo>
                  <a:lnTo>
                    <a:pt x="1060" y="13"/>
                  </a:lnTo>
                  <a:lnTo>
                    <a:pt x="1047" y="17"/>
                  </a:lnTo>
                  <a:lnTo>
                    <a:pt x="1034" y="22"/>
                  </a:lnTo>
                  <a:lnTo>
                    <a:pt x="1022" y="28"/>
                  </a:lnTo>
                  <a:lnTo>
                    <a:pt x="1010" y="34"/>
                  </a:lnTo>
                  <a:lnTo>
                    <a:pt x="998" y="41"/>
                  </a:lnTo>
                  <a:lnTo>
                    <a:pt x="987" y="48"/>
                  </a:lnTo>
                  <a:lnTo>
                    <a:pt x="976" y="56"/>
                  </a:lnTo>
                  <a:lnTo>
                    <a:pt x="965" y="64"/>
                  </a:lnTo>
                  <a:lnTo>
                    <a:pt x="955" y="73"/>
                  </a:lnTo>
                  <a:lnTo>
                    <a:pt x="945" y="83"/>
                  </a:lnTo>
                  <a:lnTo>
                    <a:pt x="935" y="92"/>
                  </a:lnTo>
                  <a:lnTo>
                    <a:pt x="927" y="102"/>
                  </a:lnTo>
                  <a:lnTo>
                    <a:pt x="919" y="113"/>
                  </a:lnTo>
                  <a:lnTo>
                    <a:pt x="911" y="124"/>
                  </a:lnTo>
                  <a:lnTo>
                    <a:pt x="904" y="135"/>
                  </a:lnTo>
                  <a:lnTo>
                    <a:pt x="896" y="147"/>
                  </a:lnTo>
                  <a:lnTo>
                    <a:pt x="890" y="159"/>
                  </a:lnTo>
                  <a:lnTo>
                    <a:pt x="885" y="171"/>
                  </a:lnTo>
                  <a:lnTo>
                    <a:pt x="880" y="185"/>
                  </a:lnTo>
                  <a:lnTo>
                    <a:pt x="876" y="197"/>
                  </a:lnTo>
                  <a:lnTo>
                    <a:pt x="872" y="210"/>
                  </a:lnTo>
                  <a:lnTo>
                    <a:pt x="869" y="224"/>
                  </a:lnTo>
                  <a:lnTo>
                    <a:pt x="866" y="238"/>
                  </a:lnTo>
                  <a:lnTo>
                    <a:pt x="864" y="253"/>
                  </a:lnTo>
                  <a:lnTo>
                    <a:pt x="863" y="266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3" y="295"/>
                  </a:lnTo>
                  <a:lnTo>
                    <a:pt x="864" y="309"/>
                  </a:lnTo>
                  <a:lnTo>
                    <a:pt x="866" y="324"/>
                  </a:lnTo>
                  <a:lnTo>
                    <a:pt x="869" y="337"/>
                  </a:lnTo>
                  <a:lnTo>
                    <a:pt x="872" y="352"/>
                  </a:lnTo>
                  <a:lnTo>
                    <a:pt x="876" y="364"/>
                  </a:lnTo>
                  <a:lnTo>
                    <a:pt x="880" y="377"/>
                  </a:lnTo>
                  <a:lnTo>
                    <a:pt x="885" y="391"/>
                  </a:lnTo>
                  <a:lnTo>
                    <a:pt x="890" y="403"/>
                  </a:lnTo>
                  <a:lnTo>
                    <a:pt x="896" y="414"/>
                  </a:lnTo>
                  <a:lnTo>
                    <a:pt x="904" y="427"/>
                  </a:lnTo>
                  <a:lnTo>
                    <a:pt x="911" y="438"/>
                  </a:lnTo>
                  <a:lnTo>
                    <a:pt x="919" y="449"/>
                  </a:lnTo>
                  <a:lnTo>
                    <a:pt x="927" y="460"/>
                  </a:lnTo>
                  <a:lnTo>
                    <a:pt x="935" y="470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45" y="479"/>
                  </a:lnTo>
                  <a:lnTo>
                    <a:pt x="963" y="498"/>
                  </a:lnTo>
                  <a:lnTo>
                    <a:pt x="968" y="503"/>
                  </a:lnTo>
                  <a:lnTo>
                    <a:pt x="1137" y="672"/>
                  </a:lnTo>
                  <a:lnTo>
                    <a:pt x="1137" y="672"/>
                  </a:lnTo>
                  <a:lnTo>
                    <a:pt x="1088" y="674"/>
                  </a:lnTo>
                  <a:lnTo>
                    <a:pt x="1039" y="679"/>
                  </a:lnTo>
                  <a:lnTo>
                    <a:pt x="990" y="685"/>
                  </a:lnTo>
                  <a:lnTo>
                    <a:pt x="943" y="695"/>
                  </a:lnTo>
                  <a:lnTo>
                    <a:pt x="896" y="705"/>
                  </a:lnTo>
                  <a:lnTo>
                    <a:pt x="851" y="718"/>
                  </a:lnTo>
                  <a:lnTo>
                    <a:pt x="806" y="733"/>
                  </a:lnTo>
                  <a:lnTo>
                    <a:pt x="762" y="749"/>
                  </a:lnTo>
                  <a:lnTo>
                    <a:pt x="762" y="749"/>
                  </a:lnTo>
                  <a:lnTo>
                    <a:pt x="738" y="760"/>
                  </a:lnTo>
                  <a:lnTo>
                    <a:pt x="714" y="771"/>
                  </a:lnTo>
                  <a:lnTo>
                    <a:pt x="690" y="782"/>
                  </a:lnTo>
                  <a:lnTo>
                    <a:pt x="667" y="795"/>
                  </a:lnTo>
                  <a:lnTo>
                    <a:pt x="667" y="795"/>
                  </a:lnTo>
                  <a:lnTo>
                    <a:pt x="642" y="809"/>
                  </a:lnTo>
                  <a:lnTo>
                    <a:pt x="617" y="823"/>
                  </a:lnTo>
                  <a:lnTo>
                    <a:pt x="593" y="839"/>
                  </a:lnTo>
                  <a:lnTo>
                    <a:pt x="570" y="854"/>
                  </a:lnTo>
                  <a:lnTo>
                    <a:pt x="570" y="854"/>
                  </a:lnTo>
                  <a:lnTo>
                    <a:pt x="541" y="876"/>
                  </a:lnTo>
                  <a:lnTo>
                    <a:pt x="512" y="899"/>
                  </a:lnTo>
                  <a:lnTo>
                    <a:pt x="485" y="923"/>
                  </a:lnTo>
                  <a:lnTo>
                    <a:pt x="459" y="947"/>
                  </a:lnTo>
                  <a:lnTo>
                    <a:pt x="435" y="973"/>
                  </a:lnTo>
                  <a:lnTo>
                    <a:pt x="412" y="1000"/>
                  </a:lnTo>
                  <a:lnTo>
                    <a:pt x="390" y="1026"/>
                  </a:lnTo>
                  <a:lnTo>
                    <a:pt x="370" y="1055"/>
                  </a:lnTo>
                  <a:lnTo>
                    <a:pt x="370" y="1055"/>
                  </a:lnTo>
                  <a:lnTo>
                    <a:pt x="355" y="1077"/>
                  </a:lnTo>
                  <a:lnTo>
                    <a:pt x="341" y="1100"/>
                  </a:lnTo>
                  <a:lnTo>
                    <a:pt x="329" y="1122"/>
                  </a:lnTo>
                  <a:lnTo>
                    <a:pt x="316" y="1145"/>
                  </a:lnTo>
                  <a:lnTo>
                    <a:pt x="316" y="1145"/>
                  </a:lnTo>
                  <a:lnTo>
                    <a:pt x="304" y="1172"/>
                  </a:lnTo>
                  <a:lnTo>
                    <a:pt x="292" y="1199"/>
                  </a:lnTo>
                  <a:lnTo>
                    <a:pt x="282" y="1226"/>
                  </a:lnTo>
                  <a:lnTo>
                    <a:pt x="273" y="1255"/>
                  </a:lnTo>
                  <a:lnTo>
                    <a:pt x="207" y="1255"/>
                  </a:lnTo>
                  <a:lnTo>
                    <a:pt x="170" y="1255"/>
                  </a:lnTo>
                  <a:lnTo>
                    <a:pt x="73" y="1255"/>
                  </a:lnTo>
                  <a:lnTo>
                    <a:pt x="73" y="1255"/>
                  </a:lnTo>
                  <a:lnTo>
                    <a:pt x="66" y="1255"/>
                  </a:lnTo>
                  <a:lnTo>
                    <a:pt x="59" y="1256"/>
                  </a:lnTo>
                  <a:lnTo>
                    <a:pt x="51" y="1258"/>
                  </a:lnTo>
                  <a:lnTo>
                    <a:pt x="45" y="1260"/>
                  </a:lnTo>
                  <a:lnTo>
                    <a:pt x="39" y="1263"/>
                  </a:lnTo>
                  <a:lnTo>
                    <a:pt x="33" y="1267"/>
                  </a:lnTo>
                  <a:lnTo>
                    <a:pt x="27" y="1272"/>
                  </a:lnTo>
                  <a:lnTo>
                    <a:pt x="21" y="1277"/>
                  </a:lnTo>
                  <a:lnTo>
                    <a:pt x="16" y="1282"/>
                  </a:lnTo>
                  <a:lnTo>
                    <a:pt x="12" y="1287"/>
                  </a:lnTo>
                  <a:lnTo>
                    <a:pt x="9" y="1293"/>
                  </a:lnTo>
                  <a:lnTo>
                    <a:pt x="6" y="1299"/>
                  </a:lnTo>
                  <a:lnTo>
                    <a:pt x="3" y="1307"/>
                  </a:lnTo>
                  <a:lnTo>
                    <a:pt x="2" y="1314"/>
                  </a:lnTo>
                  <a:lnTo>
                    <a:pt x="1" y="1321"/>
                  </a:lnTo>
                  <a:lnTo>
                    <a:pt x="0" y="1328"/>
                  </a:lnTo>
                  <a:lnTo>
                    <a:pt x="0" y="1424"/>
                  </a:lnTo>
                  <a:lnTo>
                    <a:pt x="0" y="1436"/>
                  </a:lnTo>
                  <a:lnTo>
                    <a:pt x="0" y="1461"/>
                  </a:lnTo>
                  <a:lnTo>
                    <a:pt x="0" y="1576"/>
                  </a:lnTo>
                  <a:lnTo>
                    <a:pt x="0" y="1576"/>
                  </a:lnTo>
                  <a:lnTo>
                    <a:pt x="1" y="1584"/>
                  </a:lnTo>
                  <a:lnTo>
                    <a:pt x="2" y="1592"/>
                  </a:lnTo>
                  <a:lnTo>
                    <a:pt x="4" y="1600"/>
                  </a:lnTo>
                  <a:lnTo>
                    <a:pt x="6" y="1607"/>
                  </a:lnTo>
                  <a:lnTo>
                    <a:pt x="10" y="1615"/>
                  </a:lnTo>
                  <a:lnTo>
                    <a:pt x="14" y="1622"/>
                  </a:lnTo>
                  <a:lnTo>
                    <a:pt x="18" y="1628"/>
                  </a:lnTo>
                  <a:lnTo>
                    <a:pt x="24" y="1634"/>
                  </a:lnTo>
                  <a:lnTo>
                    <a:pt x="24" y="1634"/>
                  </a:lnTo>
                  <a:lnTo>
                    <a:pt x="25" y="1635"/>
                  </a:lnTo>
                  <a:lnTo>
                    <a:pt x="30" y="1640"/>
                  </a:lnTo>
                  <a:lnTo>
                    <a:pt x="585" y="2196"/>
                  </a:lnTo>
                  <a:lnTo>
                    <a:pt x="604" y="2304"/>
                  </a:lnTo>
                  <a:lnTo>
                    <a:pt x="604" y="2304"/>
                  </a:lnTo>
                  <a:lnTo>
                    <a:pt x="605" y="2311"/>
                  </a:lnTo>
                  <a:lnTo>
                    <a:pt x="606" y="2318"/>
                  </a:lnTo>
                  <a:lnTo>
                    <a:pt x="607" y="2324"/>
                  </a:lnTo>
                  <a:lnTo>
                    <a:pt x="610" y="2331"/>
                  </a:lnTo>
                  <a:lnTo>
                    <a:pt x="613" y="2337"/>
                  </a:lnTo>
                  <a:lnTo>
                    <a:pt x="616" y="2343"/>
                  </a:lnTo>
                  <a:lnTo>
                    <a:pt x="620" y="2348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624" y="2353"/>
                  </a:lnTo>
                  <a:lnTo>
                    <a:pt x="1540" y="3269"/>
                  </a:lnTo>
                  <a:lnTo>
                    <a:pt x="1540" y="3269"/>
                  </a:lnTo>
                  <a:lnTo>
                    <a:pt x="1590" y="3260"/>
                  </a:lnTo>
                  <a:lnTo>
                    <a:pt x="1639" y="3249"/>
                  </a:lnTo>
                  <a:lnTo>
                    <a:pt x="1639" y="3249"/>
                  </a:lnTo>
                  <a:lnTo>
                    <a:pt x="1687" y="3238"/>
                  </a:lnTo>
                  <a:lnTo>
                    <a:pt x="1734" y="3226"/>
                  </a:lnTo>
                  <a:lnTo>
                    <a:pt x="1780" y="3212"/>
                  </a:lnTo>
                  <a:lnTo>
                    <a:pt x="1827" y="3198"/>
                  </a:lnTo>
                  <a:lnTo>
                    <a:pt x="1873" y="3183"/>
                  </a:lnTo>
                  <a:lnTo>
                    <a:pt x="1919" y="3166"/>
                  </a:lnTo>
                  <a:lnTo>
                    <a:pt x="1964" y="3149"/>
                  </a:lnTo>
                  <a:lnTo>
                    <a:pt x="2008" y="3130"/>
                  </a:lnTo>
                  <a:lnTo>
                    <a:pt x="2052" y="3110"/>
                  </a:lnTo>
                  <a:lnTo>
                    <a:pt x="2096" y="3090"/>
                  </a:lnTo>
                  <a:lnTo>
                    <a:pt x="2139" y="3068"/>
                  </a:lnTo>
                  <a:lnTo>
                    <a:pt x="2181" y="3046"/>
                  </a:lnTo>
                  <a:lnTo>
                    <a:pt x="2223" y="3023"/>
                  </a:lnTo>
                  <a:lnTo>
                    <a:pt x="2264" y="2998"/>
                  </a:lnTo>
                  <a:lnTo>
                    <a:pt x="2304" y="2973"/>
                  </a:lnTo>
                  <a:lnTo>
                    <a:pt x="2344" y="2948"/>
                  </a:lnTo>
                  <a:lnTo>
                    <a:pt x="2383" y="2921"/>
                  </a:lnTo>
                  <a:lnTo>
                    <a:pt x="2422" y="2893"/>
                  </a:lnTo>
                  <a:lnTo>
                    <a:pt x="2461" y="2864"/>
                  </a:lnTo>
                  <a:lnTo>
                    <a:pt x="2498" y="2834"/>
                  </a:lnTo>
                  <a:lnTo>
                    <a:pt x="2535" y="2804"/>
                  </a:lnTo>
                  <a:lnTo>
                    <a:pt x="2571" y="2774"/>
                  </a:lnTo>
                  <a:lnTo>
                    <a:pt x="2606" y="2742"/>
                  </a:lnTo>
                  <a:lnTo>
                    <a:pt x="2640" y="2710"/>
                  </a:lnTo>
                  <a:lnTo>
                    <a:pt x="2674" y="2676"/>
                  </a:lnTo>
                  <a:lnTo>
                    <a:pt x="2707" y="2642"/>
                  </a:lnTo>
                  <a:lnTo>
                    <a:pt x="2740" y="2608"/>
                  </a:lnTo>
                  <a:lnTo>
                    <a:pt x="2771" y="2572"/>
                  </a:lnTo>
                  <a:lnTo>
                    <a:pt x="2802" y="2536"/>
                  </a:lnTo>
                  <a:lnTo>
                    <a:pt x="2832" y="2498"/>
                  </a:lnTo>
                  <a:lnTo>
                    <a:pt x="2860" y="2461"/>
                  </a:lnTo>
                  <a:lnTo>
                    <a:pt x="2889" y="2423"/>
                  </a:lnTo>
                  <a:lnTo>
                    <a:pt x="2889" y="2423"/>
                  </a:lnTo>
                  <a:lnTo>
                    <a:pt x="2911" y="2391"/>
                  </a:lnTo>
                  <a:lnTo>
                    <a:pt x="2932" y="2359"/>
                  </a:lnTo>
                  <a:lnTo>
                    <a:pt x="2954" y="2327"/>
                  </a:lnTo>
                  <a:lnTo>
                    <a:pt x="2975" y="2296"/>
                  </a:lnTo>
                  <a:lnTo>
                    <a:pt x="2994" y="2263"/>
                  </a:lnTo>
                  <a:lnTo>
                    <a:pt x="3014" y="2229"/>
                  </a:lnTo>
                  <a:lnTo>
                    <a:pt x="3032" y="2195"/>
                  </a:lnTo>
                  <a:lnTo>
                    <a:pt x="3050" y="2161"/>
                  </a:lnTo>
                  <a:lnTo>
                    <a:pt x="3067" y="2127"/>
                  </a:lnTo>
                  <a:lnTo>
                    <a:pt x="3085" y="2092"/>
                  </a:lnTo>
                  <a:lnTo>
                    <a:pt x="3101" y="2057"/>
                  </a:lnTo>
                  <a:lnTo>
                    <a:pt x="3117" y="2022"/>
                  </a:lnTo>
                  <a:lnTo>
                    <a:pt x="3131" y="1985"/>
                  </a:lnTo>
                  <a:lnTo>
                    <a:pt x="3146" y="1949"/>
                  </a:lnTo>
                  <a:lnTo>
                    <a:pt x="3160" y="1912"/>
                  </a:lnTo>
                  <a:lnTo>
                    <a:pt x="3173" y="1875"/>
                  </a:lnTo>
                  <a:lnTo>
                    <a:pt x="2137" y="84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679">
              <a:extLst>
                <a:ext uri="{FF2B5EF4-FFF2-40B4-BE49-F238E27FC236}">
                  <a16:creationId xmlns:a16="http://schemas.microsoft.com/office/drawing/2014/main" id="{4659F981-8899-4F12-9BF9-52CFAA04C5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  <a:cxn ang="0">
                  <a:pos x="2210" y="627"/>
                </a:cxn>
                <a:cxn ang="0">
                  <a:pos x="2241" y="614"/>
                </a:cxn>
                <a:cxn ang="0">
                  <a:pos x="2235" y="662"/>
                </a:cxn>
                <a:cxn ang="0">
                  <a:pos x="2198" y="67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  <a:close/>
                  <a:moveTo>
                    <a:pt x="2210" y="627"/>
                  </a:moveTo>
                  <a:lnTo>
                    <a:pt x="2210" y="627"/>
                  </a:lnTo>
                  <a:lnTo>
                    <a:pt x="2219" y="615"/>
                  </a:lnTo>
                  <a:lnTo>
                    <a:pt x="2228" y="607"/>
                  </a:lnTo>
                  <a:lnTo>
                    <a:pt x="2233" y="603"/>
                  </a:lnTo>
                  <a:lnTo>
                    <a:pt x="2236" y="602"/>
                  </a:lnTo>
                  <a:lnTo>
                    <a:pt x="2236" y="602"/>
                  </a:lnTo>
                  <a:lnTo>
                    <a:pt x="2238" y="604"/>
                  </a:lnTo>
                  <a:lnTo>
                    <a:pt x="2240" y="608"/>
                  </a:lnTo>
                  <a:lnTo>
                    <a:pt x="2241" y="614"/>
                  </a:lnTo>
                  <a:lnTo>
                    <a:pt x="2242" y="621"/>
                  </a:lnTo>
                  <a:lnTo>
                    <a:pt x="2242" y="629"/>
                  </a:lnTo>
                  <a:lnTo>
                    <a:pt x="2241" y="640"/>
                  </a:lnTo>
                  <a:lnTo>
                    <a:pt x="2239" y="650"/>
                  </a:lnTo>
                  <a:lnTo>
                    <a:pt x="2235" y="661"/>
                  </a:lnTo>
                  <a:lnTo>
                    <a:pt x="2235" y="661"/>
                  </a:lnTo>
                  <a:lnTo>
                    <a:pt x="2235" y="662"/>
                  </a:lnTo>
                  <a:lnTo>
                    <a:pt x="2235" y="662"/>
                  </a:lnTo>
                  <a:lnTo>
                    <a:pt x="2229" y="677"/>
                  </a:lnTo>
                  <a:lnTo>
                    <a:pt x="2220" y="689"/>
                  </a:lnTo>
                  <a:lnTo>
                    <a:pt x="2212" y="701"/>
                  </a:lnTo>
                  <a:lnTo>
                    <a:pt x="2203" y="709"/>
                  </a:lnTo>
                  <a:lnTo>
                    <a:pt x="2203" y="709"/>
                  </a:lnTo>
                  <a:lnTo>
                    <a:pt x="2201" y="697"/>
                  </a:lnTo>
                  <a:lnTo>
                    <a:pt x="2199" y="686"/>
                  </a:lnTo>
                  <a:lnTo>
                    <a:pt x="2198" y="675"/>
                  </a:lnTo>
                  <a:lnTo>
                    <a:pt x="2199" y="664"/>
                  </a:lnTo>
                  <a:lnTo>
                    <a:pt x="2200" y="654"/>
                  </a:lnTo>
                  <a:lnTo>
                    <a:pt x="2202" y="645"/>
                  </a:lnTo>
                  <a:lnTo>
                    <a:pt x="2205" y="636"/>
                  </a:lnTo>
                  <a:lnTo>
                    <a:pt x="2210" y="627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680">
              <a:extLst>
                <a:ext uri="{FF2B5EF4-FFF2-40B4-BE49-F238E27FC236}">
                  <a16:creationId xmlns:a16="http://schemas.microsoft.com/office/drawing/2014/main" id="{36926E8E-FF5A-4334-B5B3-BDC8069EC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466725" cy="338138"/>
            </a:xfrm>
            <a:custGeom>
              <a:avLst/>
              <a:gdLst/>
              <a:ahLst/>
              <a:cxnLst>
                <a:cxn ang="0">
                  <a:pos x="2322" y="803"/>
                </a:cxn>
                <a:cxn ang="0">
                  <a:pos x="2272" y="799"/>
                </a:cxn>
                <a:cxn ang="0">
                  <a:pos x="2229" y="763"/>
                </a:cxn>
                <a:cxn ang="0">
                  <a:pos x="2279" y="707"/>
                </a:cxn>
                <a:cxn ang="0">
                  <a:pos x="2301" y="633"/>
                </a:cxn>
                <a:cxn ang="0">
                  <a:pos x="2281" y="565"/>
                </a:cxn>
                <a:cxn ang="0">
                  <a:pos x="2231" y="543"/>
                </a:cxn>
                <a:cxn ang="0">
                  <a:pos x="2169" y="584"/>
                </a:cxn>
                <a:cxn ang="0">
                  <a:pos x="2140" y="680"/>
                </a:cxn>
                <a:cxn ang="0">
                  <a:pos x="2086" y="742"/>
                </a:cxn>
                <a:cxn ang="0">
                  <a:pos x="2007" y="452"/>
                </a:cxn>
                <a:cxn ang="0">
                  <a:pos x="1808" y="216"/>
                </a:cxn>
                <a:cxn ang="0">
                  <a:pos x="1519" y="58"/>
                </a:cxn>
                <a:cxn ang="0">
                  <a:pos x="1166" y="0"/>
                </a:cxn>
                <a:cxn ang="0">
                  <a:pos x="895" y="34"/>
                </a:cxn>
                <a:cxn ang="0">
                  <a:pos x="624" y="146"/>
                </a:cxn>
                <a:cxn ang="0">
                  <a:pos x="414" y="325"/>
                </a:cxn>
                <a:cxn ang="0">
                  <a:pos x="283" y="551"/>
                </a:cxn>
                <a:cxn ang="0">
                  <a:pos x="39" y="591"/>
                </a:cxn>
                <a:cxn ang="0">
                  <a:pos x="3" y="635"/>
                </a:cxn>
                <a:cxn ang="0">
                  <a:pos x="2" y="919"/>
                </a:cxn>
                <a:cxn ang="0">
                  <a:pos x="44" y="980"/>
                </a:cxn>
                <a:cxn ang="0">
                  <a:pos x="315" y="1055"/>
                </a:cxn>
                <a:cxn ang="0">
                  <a:pos x="364" y="1137"/>
                </a:cxn>
                <a:cxn ang="0">
                  <a:pos x="421" y="1213"/>
                </a:cxn>
                <a:cxn ang="0">
                  <a:pos x="456" y="1251"/>
                </a:cxn>
                <a:cxn ang="0">
                  <a:pos x="509" y="1299"/>
                </a:cxn>
                <a:cxn ang="0">
                  <a:pos x="605" y="1639"/>
                </a:cxn>
                <a:cxn ang="0">
                  <a:pos x="629" y="1685"/>
                </a:cxn>
                <a:cxn ang="0">
                  <a:pos x="806" y="1702"/>
                </a:cxn>
                <a:cxn ang="0">
                  <a:pos x="849" y="1685"/>
                </a:cxn>
                <a:cxn ang="0">
                  <a:pos x="875" y="1639"/>
                </a:cxn>
                <a:cxn ang="0">
                  <a:pos x="991" y="1515"/>
                </a:cxn>
                <a:cxn ang="0">
                  <a:pos x="1029" y="1521"/>
                </a:cxn>
                <a:cxn ang="0">
                  <a:pos x="1077" y="1526"/>
                </a:cxn>
                <a:cxn ang="0">
                  <a:pos x="1124" y="1528"/>
                </a:cxn>
                <a:cxn ang="0">
                  <a:pos x="1188" y="1529"/>
                </a:cxn>
                <a:cxn ang="0">
                  <a:pos x="1236" y="1527"/>
                </a:cxn>
                <a:cxn ang="0">
                  <a:pos x="1276" y="1524"/>
                </a:cxn>
                <a:cxn ang="0">
                  <a:pos x="1404" y="1503"/>
                </a:cxn>
                <a:cxn ang="0">
                  <a:pos x="1464" y="1665"/>
                </a:cxn>
                <a:cxn ang="0">
                  <a:pos x="1505" y="1699"/>
                </a:cxn>
                <a:cxn ang="0">
                  <a:pos x="1677" y="1699"/>
                </a:cxn>
                <a:cxn ang="0">
                  <a:pos x="1719" y="1665"/>
                </a:cxn>
                <a:cxn ang="0">
                  <a:pos x="1800" y="1320"/>
                </a:cxn>
                <a:cxn ang="0">
                  <a:pos x="1922" y="1202"/>
                </a:cxn>
                <a:cxn ang="0">
                  <a:pos x="1948" y="1168"/>
                </a:cxn>
                <a:cxn ang="0">
                  <a:pos x="1972" y="1134"/>
                </a:cxn>
                <a:cxn ang="0">
                  <a:pos x="1994" y="1099"/>
                </a:cxn>
                <a:cxn ang="0">
                  <a:pos x="2040" y="1005"/>
                </a:cxn>
                <a:cxn ang="0">
                  <a:pos x="2055" y="964"/>
                </a:cxn>
                <a:cxn ang="0">
                  <a:pos x="2066" y="925"/>
                </a:cxn>
                <a:cxn ang="0">
                  <a:pos x="2075" y="886"/>
                </a:cxn>
                <a:cxn ang="0">
                  <a:pos x="2081" y="846"/>
                </a:cxn>
                <a:cxn ang="0">
                  <a:pos x="2085" y="806"/>
                </a:cxn>
                <a:cxn ang="0">
                  <a:pos x="2174" y="788"/>
                </a:cxn>
                <a:cxn ang="0">
                  <a:pos x="2264" y="858"/>
                </a:cxn>
                <a:cxn ang="0">
                  <a:pos x="2334" y="855"/>
                </a:cxn>
              </a:cxnLst>
              <a:rect l="0" t="0" r="r" b="b"/>
              <a:pathLst>
                <a:path w="2346" h="1702">
                  <a:moveTo>
                    <a:pt x="2346" y="825"/>
                  </a:moveTo>
                  <a:lnTo>
                    <a:pt x="2346" y="825"/>
                  </a:lnTo>
                  <a:lnTo>
                    <a:pt x="2344" y="820"/>
                  </a:lnTo>
                  <a:lnTo>
                    <a:pt x="2341" y="815"/>
                  </a:lnTo>
                  <a:lnTo>
                    <a:pt x="2338" y="810"/>
                  </a:lnTo>
                  <a:lnTo>
                    <a:pt x="2333" y="807"/>
                  </a:lnTo>
                  <a:lnTo>
                    <a:pt x="2328" y="805"/>
                  </a:lnTo>
                  <a:lnTo>
                    <a:pt x="2322" y="803"/>
                  </a:lnTo>
                  <a:lnTo>
                    <a:pt x="2317" y="801"/>
                  </a:lnTo>
                  <a:lnTo>
                    <a:pt x="2311" y="803"/>
                  </a:lnTo>
                  <a:lnTo>
                    <a:pt x="2311" y="803"/>
                  </a:lnTo>
                  <a:lnTo>
                    <a:pt x="2304" y="804"/>
                  </a:lnTo>
                  <a:lnTo>
                    <a:pt x="2297" y="805"/>
                  </a:lnTo>
                  <a:lnTo>
                    <a:pt x="2291" y="804"/>
                  </a:lnTo>
                  <a:lnTo>
                    <a:pt x="2283" y="803"/>
                  </a:lnTo>
                  <a:lnTo>
                    <a:pt x="2272" y="799"/>
                  </a:lnTo>
                  <a:lnTo>
                    <a:pt x="2261" y="794"/>
                  </a:lnTo>
                  <a:lnTo>
                    <a:pt x="2251" y="787"/>
                  </a:lnTo>
                  <a:lnTo>
                    <a:pt x="2243" y="780"/>
                  </a:lnTo>
                  <a:lnTo>
                    <a:pt x="2235" y="772"/>
                  </a:lnTo>
                  <a:lnTo>
                    <a:pt x="2230" y="764"/>
                  </a:lnTo>
                  <a:lnTo>
                    <a:pt x="2230" y="764"/>
                  </a:lnTo>
                  <a:lnTo>
                    <a:pt x="2229" y="763"/>
                  </a:lnTo>
                  <a:lnTo>
                    <a:pt x="2229" y="763"/>
                  </a:lnTo>
                  <a:lnTo>
                    <a:pt x="2237" y="757"/>
                  </a:lnTo>
                  <a:lnTo>
                    <a:pt x="2237" y="757"/>
                  </a:lnTo>
                  <a:lnTo>
                    <a:pt x="2245" y="751"/>
                  </a:lnTo>
                  <a:lnTo>
                    <a:pt x="2252" y="743"/>
                  </a:lnTo>
                  <a:lnTo>
                    <a:pt x="2260" y="736"/>
                  </a:lnTo>
                  <a:lnTo>
                    <a:pt x="2267" y="726"/>
                  </a:lnTo>
                  <a:lnTo>
                    <a:pt x="2273" y="717"/>
                  </a:lnTo>
                  <a:lnTo>
                    <a:pt x="2279" y="707"/>
                  </a:lnTo>
                  <a:lnTo>
                    <a:pt x="2284" y="696"/>
                  </a:lnTo>
                  <a:lnTo>
                    <a:pt x="2289" y="684"/>
                  </a:lnTo>
                  <a:lnTo>
                    <a:pt x="2289" y="684"/>
                  </a:lnTo>
                  <a:lnTo>
                    <a:pt x="2294" y="674"/>
                  </a:lnTo>
                  <a:lnTo>
                    <a:pt x="2297" y="663"/>
                  </a:lnTo>
                  <a:lnTo>
                    <a:pt x="2299" y="653"/>
                  </a:lnTo>
                  <a:lnTo>
                    <a:pt x="2300" y="643"/>
                  </a:lnTo>
                  <a:lnTo>
                    <a:pt x="2301" y="633"/>
                  </a:lnTo>
                  <a:lnTo>
                    <a:pt x="2301" y="622"/>
                  </a:lnTo>
                  <a:lnTo>
                    <a:pt x="2301" y="613"/>
                  </a:lnTo>
                  <a:lnTo>
                    <a:pt x="2299" y="604"/>
                  </a:lnTo>
                  <a:lnTo>
                    <a:pt x="2297" y="594"/>
                  </a:lnTo>
                  <a:lnTo>
                    <a:pt x="2294" y="586"/>
                  </a:lnTo>
                  <a:lnTo>
                    <a:pt x="2291" y="578"/>
                  </a:lnTo>
                  <a:lnTo>
                    <a:pt x="2286" y="571"/>
                  </a:lnTo>
                  <a:lnTo>
                    <a:pt x="2281" y="565"/>
                  </a:lnTo>
                  <a:lnTo>
                    <a:pt x="2276" y="558"/>
                  </a:lnTo>
                  <a:lnTo>
                    <a:pt x="2270" y="553"/>
                  </a:lnTo>
                  <a:lnTo>
                    <a:pt x="2263" y="549"/>
                  </a:lnTo>
                  <a:lnTo>
                    <a:pt x="2263" y="549"/>
                  </a:lnTo>
                  <a:lnTo>
                    <a:pt x="2257" y="547"/>
                  </a:lnTo>
                  <a:lnTo>
                    <a:pt x="2248" y="544"/>
                  </a:lnTo>
                  <a:lnTo>
                    <a:pt x="2237" y="543"/>
                  </a:lnTo>
                  <a:lnTo>
                    <a:pt x="2231" y="543"/>
                  </a:lnTo>
                  <a:lnTo>
                    <a:pt x="2224" y="544"/>
                  </a:lnTo>
                  <a:lnTo>
                    <a:pt x="2216" y="546"/>
                  </a:lnTo>
                  <a:lnTo>
                    <a:pt x="2209" y="549"/>
                  </a:lnTo>
                  <a:lnTo>
                    <a:pt x="2202" y="553"/>
                  </a:lnTo>
                  <a:lnTo>
                    <a:pt x="2194" y="558"/>
                  </a:lnTo>
                  <a:lnTo>
                    <a:pt x="2185" y="566"/>
                  </a:lnTo>
                  <a:lnTo>
                    <a:pt x="2177" y="574"/>
                  </a:lnTo>
                  <a:lnTo>
                    <a:pt x="2169" y="584"/>
                  </a:lnTo>
                  <a:lnTo>
                    <a:pt x="2161" y="595"/>
                  </a:lnTo>
                  <a:lnTo>
                    <a:pt x="2161" y="595"/>
                  </a:lnTo>
                  <a:lnTo>
                    <a:pt x="2156" y="604"/>
                  </a:lnTo>
                  <a:lnTo>
                    <a:pt x="2152" y="611"/>
                  </a:lnTo>
                  <a:lnTo>
                    <a:pt x="2146" y="627"/>
                  </a:lnTo>
                  <a:lnTo>
                    <a:pt x="2142" y="645"/>
                  </a:lnTo>
                  <a:lnTo>
                    <a:pt x="2140" y="662"/>
                  </a:lnTo>
                  <a:lnTo>
                    <a:pt x="2140" y="680"/>
                  </a:lnTo>
                  <a:lnTo>
                    <a:pt x="2141" y="698"/>
                  </a:lnTo>
                  <a:lnTo>
                    <a:pt x="2144" y="716"/>
                  </a:lnTo>
                  <a:lnTo>
                    <a:pt x="2149" y="733"/>
                  </a:lnTo>
                  <a:lnTo>
                    <a:pt x="2149" y="733"/>
                  </a:lnTo>
                  <a:lnTo>
                    <a:pt x="2135" y="737"/>
                  </a:lnTo>
                  <a:lnTo>
                    <a:pt x="2119" y="739"/>
                  </a:lnTo>
                  <a:lnTo>
                    <a:pt x="2086" y="742"/>
                  </a:lnTo>
                  <a:lnTo>
                    <a:pt x="2086" y="742"/>
                  </a:lnTo>
                  <a:lnTo>
                    <a:pt x="2083" y="704"/>
                  </a:lnTo>
                  <a:lnTo>
                    <a:pt x="2079" y="665"/>
                  </a:lnTo>
                  <a:lnTo>
                    <a:pt x="2072" y="628"/>
                  </a:lnTo>
                  <a:lnTo>
                    <a:pt x="2063" y="591"/>
                  </a:lnTo>
                  <a:lnTo>
                    <a:pt x="2051" y="555"/>
                  </a:lnTo>
                  <a:lnTo>
                    <a:pt x="2039" y="520"/>
                  </a:lnTo>
                  <a:lnTo>
                    <a:pt x="2024" y="486"/>
                  </a:lnTo>
                  <a:lnTo>
                    <a:pt x="2007" y="452"/>
                  </a:lnTo>
                  <a:lnTo>
                    <a:pt x="1988" y="419"/>
                  </a:lnTo>
                  <a:lnTo>
                    <a:pt x="1967" y="387"/>
                  </a:lnTo>
                  <a:lnTo>
                    <a:pt x="1944" y="356"/>
                  </a:lnTo>
                  <a:lnTo>
                    <a:pt x="1921" y="327"/>
                  </a:lnTo>
                  <a:lnTo>
                    <a:pt x="1895" y="297"/>
                  </a:lnTo>
                  <a:lnTo>
                    <a:pt x="1867" y="269"/>
                  </a:lnTo>
                  <a:lnTo>
                    <a:pt x="1838" y="242"/>
                  </a:lnTo>
                  <a:lnTo>
                    <a:pt x="1808" y="216"/>
                  </a:lnTo>
                  <a:lnTo>
                    <a:pt x="1776" y="192"/>
                  </a:lnTo>
                  <a:lnTo>
                    <a:pt x="1743" y="169"/>
                  </a:lnTo>
                  <a:lnTo>
                    <a:pt x="1709" y="146"/>
                  </a:lnTo>
                  <a:lnTo>
                    <a:pt x="1673" y="126"/>
                  </a:lnTo>
                  <a:lnTo>
                    <a:pt x="1636" y="107"/>
                  </a:lnTo>
                  <a:lnTo>
                    <a:pt x="1598" y="89"/>
                  </a:lnTo>
                  <a:lnTo>
                    <a:pt x="1559" y="72"/>
                  </a:lnTo>
                  <a:lnTo>
                    <a:pt x="1519" y="58"/>
                  </a:lnTo>
                  <a:lnTo>
                    <a:pt x="1478" y="44"/>
                  </a:lnTo>
                  <a:lnTo>
                    <a:pt x="1435" y="33"/>
                  </a:lnTo>
                  <a:lnTo>
                    <a:pt x="1393" y="23"/>
                  </a:lnTo>
                  <a:lnTo>
                    <a:pt x="1349" y="14"/>
                  </a:lnTo>
                  <a:lnTo>
                    <a:pt x="1304" y="8"/>
                  </a:lnTo>
                  <a:lnTo>
                    <a:pt x="1259" y="3"/>
                  </a:lnTo>
                  <a:lnTo>
                    <a:pt x="1214" y="1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604" y="1632"/>
                  </a:lnTo>
                  <a:lnTo>
                    <a:pt x="604" y="1632"/>
                  </a:lnTo>
                  <a:lnTo>
                    <a:pt x="605" y="1639"/>
                  </a:lnTo>
                  <a:lnTo>
                    <a:pt x="606" y="1646"/>
                  </a:lnTo>
                  <a:lnTo>
                    <a:pt x="607" y="1652"/>
                  </a:lnTo>
                  <a:lnTo>
                    <a:pt x="610" y="1659"/>
                  </a:lnTo>
                  <a:lnTo>
                    <a:pt x="613" y="1665"/>
                  </a:lnTo>
                  <a:lnTo>
                    <a:pt x="616" y="1671"/>
                  </a:lnTo>
                  <a:lnTo>
                    <a:pt x="620" y="1676"/>
                  </a:lnTo>
                  <a:lnTo>
                    <a:pt x="624" y="1681"/>
                  </a:lnTo>
                  <a:lnTo>
                    <a:pt x="629" y="1685"/>
                  </a:lnTo>
                  <a:lnTo>
                    <a:pt x="635" y="1689"/>
                  </a:lnTo>
                  <a:lnTo>
                    <a:pt x="641" y="1694"/>
                  </a:lnTo>
                  <a:lnTo>
                    <a:pt x="647" y="1697"/>
                  </a:lnTo>
                  <a:lnTo>
                    <a:pt x="653" y="1699"/>
                  </a:lnTo>
                  <a:lnTo>
                    <a:pt x="659" y="1700"/>
                  </a:lnTo>
                  <a:lnTo>
                    <a:pt x="667" y="1701"/>
                  </a:lnTo>
                  <a:lnTo>
                    <a:pt x="674" y="1702"/>
                  </a:lnTo>
                  <a:lnTo>
                    <a:pt x="806" y="1702"/>
                  </a:lnTo>
                  <a:lnTo>
                    <a:pt x="806" y="1702"/>
                  </a:lnTo>
                  <a:lnTo>
                    <a:pt x="812" y="1701"/>
                  </a:lnTo>
                  <a:lnTo>
                    <a:pt x="819" y="1700"/>
                  </a:lnTo>
                  <a:lnTo>
                    <a:pt x="826" y="1699"/>
                  </a:lnTo>
                  <a:lnTo>
                    <a:pt x="832" y="1697"/>
                  </a:lnTo>
                  <a:lnTo>
                    <a:pt x="839" y="1694"/>
                  </a:lnTo>
                  <a:lnTo>
                    <a:pt x="844" y="1689"/>
                  </a:lnTo>
                  <a:lnTo>
                    <a:pt x="849" y="1685"/>
                  </a:lnTo>
                  <a:lnTo>
                    <a:pt x="854" y="1681"/>
                  </a:lnTo>
                  <a:lnTo>
                    <a:pt x="859" y="1676"/>
                  </a:lnTo>
                  <a:lnTo>
                    <a:pt x="863" y="1671"/>
                  </a:lnTo>
                  <a:lnTo>
                    <a:pt x="866" y="1665"/>
                  </a:lnTo>
                  <a:lnTo>
                    <a:pt x="870" y="1659"/>
                  </a:lnTo>
                  <a:lnTo>
                    <a:pt x="872" y="1652"/>
                  </a:lnTo>
                  <a:lnTo>
                    <a:pt x="874" y="1646"/>
                  </a:lnTo>
                  <a:lnTo>
                    <a:pt x="875" y="163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529"/>
                  </a:lnTo>
                  <a:lnTo>
                    <a:pt x="1188" y="1529"/>
                  </a:lnTo>
                  <a:lnTo>
                    <a:pt x="1188" y="1529"/>
                  </a:lnTo>
                  <a:lnTo>
                    <a:pt x="1194" y="1529"/>
                  </a:lnTo>
                  <a:lnTo>
                    <a:pt x="1194" y="1529"/>
                  </a:lnTo>
                  <a:lnTo>
                    <a:pt x="1210" y="1529"/>
                  </a:lnTo>
                  <a:lnTo>
                    <a:pt x="1210" y="1529"/>
                  </a:lnTo>
                  <a:lnTo>
                    <a:pt x="1216" y="1528"/>
                  </a:lnTo>
                  <a:lnTo>
                    <a:pt x="1216" y="1528"/>
                  </a:lnTo>
                  <a:lnTo>
                    <a:pt x="1236" y="1527"/>
                  </a:lnTo>
                  <a:lnTo>
                    <a:pt x="1236" y="1527"/>
                  </a:lnTo>
                  <a:lnTo>
                    <a:pt x="1244" y="1527"/>
                  </a:lnTo>
                  <a:lnTo>
                    <a:pt x="1244" y="1527"/>
                  </a:lnTo>
                  <a:lnTo>
                    <a:pt x="1256" y="1526"/>
                  </a:lnTo>
                  <a:lnTo>
                    <a:pt x="1256" y="1526"/>
                  </a:lnTo>
                  <a:lnTo>
                    <a:pt x="1266" y="1525"/>
                  </a:lnTo>
                  <a:lnTo>
                    <a:pt x="1266" y="1525"/>
                  </a:lnTo>
                  <a:lnTo>
                    <a:pt x="1276" y="1524"/>
                  </a:lnTo>
                  <a:lnTo>
                    <a:pt x="1276" y="1524"/>
                  </a:lnTo>
                  <a:lnTo>
                    <a:pt x="1317" y="1518"/>
                  </a:lnTo>
                  <a:lnTo>
                    <a:pt x="1317" y="1518"/>
                  </a:lnTo>
                  <a:lnTo>
                    <a:pt x="1320" y="1518"/>
                  </a:lnTo>
                  <a:lnTo>
                    <a:pt x="1320" y="1518"/>
                  </a:lnTo>
                  <a:lnTo>
                    <a:pt x="1349" y="1514"/>
                  </a:lnTo>
                  <a:lnTo>
                    <a:pt x="1377" y="1509"/>
                  </a:lnTo>
                  <a:lnTo>
                    <a:pt x="1404" y="1503"/>
                  </a:lnTo>
                  <a:lnTo>
                    <a:pt x="1432" y="1497"/>
                  </a:lnTo>
                  <a:lnTo>
                    <a:pt x="1456" y="1632"/>
                  </a:lnTo>
                  <a:lnTo>
                    <a:pt x="1456" y="1632"/>
                  </a:lnTo>
                  <a:lnTo>
                    <a:pt x="1456" y="1639"/>
                  </a:lnTo>
                  <a:lnTo>
                    <a:pt x="1457" y="1646"/>
                  </a:lnTo>
                  <a:lnTo>
                    <a:pt x="1459" y="1652"/>
                  </a:lnTo>
                  <a:lnTo>
                    <a:pt x="1461" y="1659"/>
                  </a:lnTo>
                  <a:lnTo>
                    <a:pt x="1464" y="1665"/>
                  </a:lnTo>
                  <a:lnTo>
                    <a:pt x="1468" y="1671"/>
                  </a:lnTo>
                  <a:lnTo>
                    <a:pt x="1472" y="1676"/>
                  </a:lnTo>
                  <a:lnTo>
                    <a:pt x="1476" y="1681"/>
                  </a:lnTo>
                  <a:lnTo>
                    <a:pt x="1482" y="1685"/>
                  </a:lnTo>
                  <a:lnTo>
                    <a:pt x="1487" y="1689"/>
                  </a:lnTo>
                  <a:lnTo>
                    <a:pt x="1492" y="1694"/>
                  </a:lnTo>
                  <a:lnTo>
                    <a:pt x="1498" y="1697"/>
                  </a:lnTo>
                  <a:lnTo>
                    <a:pt x="1505" y="1699"/>
                  </a:lnTo>
                  <a:lnTo>
                    <a:pt x="1512" y="1700"/>
                  </a:lnTo>
                  <a:lnTo>
                    <a:pt x="1519" y="1701"/>
                  </a:lnTo>
                  <a:lnTo>
                    <a:pt x="1526" y="1702"/>
                  </a:lnTo>
                  <a:lnTo>
                    <a:pt x="1657" y="1702"/>
                  </a:lnTo>
                  <a:lnTo>
                    <a:pt x="1657" y="1702"/>
                  </a:lnTo>
                  <a:lnTo>
                    <a:pt x="1664" y="1701"/>
                  </a:lnTo>
                  <a:lnTo>
                    <a:pt x="1671" y="1700"/>
                  </a:lnTo>
                  <a:lnTo>
                    <a:pt x="1677" y="1699"/>
                  </a:lnTo>
                  <a:lnTo>
                    <a:pt x="1684" y="1697"/>
                  </a:lnTo>
                  <a:lnTo>
                    <a:pt x="1690" y="1694"/>
                  </a:lnTo>
                  <a:lnTo>
                    <a:pt x="1696" y="1689"/>
                  </a:lnTo>
                  <a:lnTo>
                    <a:pt x="1701" y="1685"/>
                  </a:lnTo>
                  <a:lnTo>
                    <a:pt x="1706" y="1681"/>
                  </a:lnTo>
                  <a:lnTo>
                    <a:pt x="1710" y="1676"/>
                  </a:lnTo>
                  <a:lnTo>
                    <a:pt x="1715" y="1671"/>
                  </a:lnTo>
                  <a:lnTo>
                    <a:pt x="1719" y="1665"/>
                  </a:lnTo>
                  <a:lnTo>
                    <a:pt x="1721" y="1659"/>
                  </a:lnTo>
                  <a:lnTo>
                    <a:pt x="1724" y="1652"/>
                  </a:lnTo>
                  <a:lnTo>
                    <a:pt x="1725" y="1646"/>
                  </a:lnTo>
                  <a:lnTo>
                    <a:pt x="1726" y="1639"/>
                  </a:lnTo>
                  <a:lnTo>
                    <a:pt x="1727" y="1632"/>
                  </a:lnTo>
                  <a:lnTo>
                    <a:pt x="1780" y="1334"/>
                  </a:lnTo>
                  <a:lnTo>
                    <a:pt x="1780" y="1334"/>
                  </a:lnTo>
                  <a:lnTo>
                    <a:pt x="1800" y="1320"/>
                  </a:lnTo>
                  <a:lnTo>
                    <a:pt x="1819" y="1304"/>
                  </a:lnTo>
                  <a:lnTo>
                    <a:pt x="1837" y="1288"/>
                  </a:lnTo>
                  <a:lnTo>
                    <a:pt x="1855" y="1271"/>
                  </a:lnTo>
                  <a:lnTo>
                    <a:pt x="1872" y="1255"/>
                  </a:lnTo>
                  <a:lnTo>
                    <a:pt x="1890" y="1237"/>
                  </a:lnTo>
                  <a:lnTo>
                    <a:pt x="1905" y="1220"/>
                  </a:lnTo>
                  <a:lnTo>
                    <a:pt x="1921" y="1202"/>
                  </a:lnTo>
                  <a:lnTo>
                    <a:pt x="1922" y="1202"/>
                  </a:lnTo>
                  <a:lnTo>
                    <a:pt x="1922" y="1202"/>
                  </a:lnTo>
                  <a:lnTo>
                    <a:pt x="1934" y="1186"/>
                  </a:lnTo>
                  <a:lnTo>
                    <a:pt x="1935" y="1185"/>
                  </a:lnTo>
                  <a:lnTo>
                    <a:pt x="1935" y="1185"/>
                  </a:lnTo>
                  <a:lnTo>
                    <a:pt x="1946" y="1170"/>
                  </a:lnTo>
                  <a:lnTo>
                    <a:pt x="1946" y="1170"/>
                  </a:lnTo>
                  <a:lnTo>
                    <a:pt x="1948" y="1168"/>
                  </a:lnTo>
                  <a:lnTo>
                    <a:pt x="1948" y="1168"/>
                  </a:lnTo>
                  <a:lnTo>
                    <a:pt x="1959" y="1153"/>
                  </a:lnTo>
                  <a:lnTo>
                    <a:pt x="1959" y="1153"/>
                  </a:lnTo>
                  <a:lnTo>
                    <a:pt x="1961" y="1152"/>
                  </a:lnTo>
                  <a:lnTo>
                    <a:pt x="1961" y="1152"/>
                  </a:lnTo>
                  <a:lnTo>
                    <a:pt x="1971" y="1136"/>
                  </a:lnTo>
                  <a:lnTo>
                    <a:pt x="1971" y="1136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1982" y="1119"/>
                  </a:lnTo>
                  <a:lnTo>
                    <a:pt x="1982" y="1119"/>
                  </a:lnTo>
                  <a:lnTo>
                    <a:pt x="1983" y="1117"/>
                  </a:lnTo>
                  <a:lnTo>
                    <a:pt x="1983" y="1117"/>
                  </a:lnTo>
                  <a:lnTo>
                    <a:pt x="1993" y="1101"/>
                  </a:lnTo>
                  <a:lnTo>
                    <a:pt x="1993" y="1101"/>
                  </a:lnTo>
                  <a:lnTo>
                    <a:pt x="1994" y="1099"/>
                  </a:lnTo>
                  <a:lnTo>
                    <a:pt x="1994" y="1099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04" y="1082"/>
                  </a:lnTo>
                  <a:lnTo>
                    <a:pt x="2023" y="1046"/>
                  </a:lnTo>
                  <a:lnTo>
                    <a:pt x="2031" y="1026"/>
                  </a:lnTo>
                  <a:lnTo>
                    <a:pt x="2039" y="1008"/>
                  </a:lnTo>
                  <a:lnTo>
                    <a:pt x="2039" y="1008"/>
                  </a:lnTo>
                  <a:lnTo>
                    <a:pt x="2040" y="1005"/>
                  </a:lnTo>
                  <a:lnTo>
                    <a:pt x="2040" y="1005"/>
                  </a:lnTo>
                  <a:lnTo>
                    <a:pt x="2046" y="989"/>
                  </a:lnTo>
                  <a:lnTo>
                    <a:pt x="2046" y="989"/>
                  </a:lnTo>
                  <a:lnTo>
                    <a:pt x="2047" y="985"/>
                  </a:lnTo>
                  <a:lnTo>
                    <a:pt x="2047" y="985"/>
                  </a:lnTo>
                  <a:lnTo>
                    <a:pt x="2052" y="970"/>
                  </a:lnTo>
                  <a:lnTo>
                    <a:pt x="2052" y="970"/>
                  </a:lnTo>
                  <a:lnTo>
                    <a:pt x="2055" y="964"/>
                  </a:lnTo>
                  <a:lnTo>
                    <a:pt x="2055" y="964"/>
                  </a:lnTo>
                  <a:lnTo>
                    <a:pt x="2059" y="952"/>
                  </a:lnTo>
                  <a:lnTo>
                    <a:pt x="2059" y="952"/>
                  </a:lnTo>
                  <a:lnTo>
                    <a:pt x="2061" y="945"/>
                  </a:lnTo>
                  <a:lnTo>
                    <a:pt x="2061" y="945"/>
                  </a:lnTo>
                  <a:lnTo>
                    <a:pt x="2064" y="932"/>
                  </a:lnTo>
                  <a:lnTo>
                    <a:pt x="2064" y="932"/>
                  </a:lnTo>
                  <a:lnTo>
                    <a:pt x="2066" y="925"/>
                  </a:lnTo>
                  <a:lnTo>
                    <a:pt x="2066" y="925"/>
                  </a:lnTo>
                  <a:lnTo>
                    <a:pt x="2069" y="913"/>
                  </a:lnTo>
                  <a:lnTo>
                    <a:pt x="2069" y="913"/>
                  </a:lnTo>
                  <a:lnTo>
                    <a:pt x="2071" y="906"/>
                  </a:lnTo>
                  <a:lnTo>
                    <a:pt x="2071" y="906"/>
                  </a:lnTo>
                  <a:lnTo>
                    <a:pt x="2073" y="893"/>
                  </a:lnTo>
                  <a:lnTo>
                    <a:pt x="2073" y="893"/>
                  </a:lnTo>
                  <a:lnTo>
                    <a:pt x="2075" y="886"/>
                  </a:lnTo>
                  <a:lnTo>
                    <a:pt x="2075" y="886"/>
                  </a:lnTo>
                  <a:lnTo>
                    <a:pt x="2077" y="874"/>
                  </a:lnTo>
                  <a:lnTo>
                    <a:pt x="2077" y="874"/>
                  </a:lnTo>
                  <a:lnTo>
                    <a:pt x="2078" y="865"/>
                  </a:lnTo>
                  <a:lnTo>
                    <a:pt x="2078" y="865"/>
                  </a:lnTo>
                  <a:lnTo>
                    <a:pt x="2080" y="854"/>
                  </a:lnTo>
                  <a:lnTo>
                    <a:pt x="2080" y="854"/>
                  </a:lnTo>
                  <a:lnTo>
                    <a:pt x="2081" y="846"/>
                  </a:lnTo>
                  <a:lnTo>
                    <a:pt x="2081" y="846"/>
                  </a:lnTo>
                  <a:lnTo>
                    <a:pt x="2082" y="833"/>
                  </a:lnTo>
                  <a:lnTo>
                    <a:pt x="2082" y="833"/>
                  </a:lnTo>
                  <a:lnTo>
                    <a:pt x="2083" y="825"/>
                  </a:lnTo>
                  <a:lnTo>
                    <a:pt x="2083" y="825"/>
                  </a:lnTo>
                  <a:lnTo>
                    <a:pt x="2084" y="813"/>
                  </a:lnTo>
                  <a:lnTo>
                    <a:pt x="2084" y="813"/>
                  </a:lnTo>
                  <a:lnTo>
                    <a:pt x="2085" y="806"/>
                  </a:lnTo>
                  <a:lnTo>
                    <a:pt x="2085" y="806"/>
                  </a:lnTo>
                  <a:lnTo>
                    <a:pt x="2085" y="800"/>
                  </a:lnTo>
                  <a:lnTo>
                    <a:pt x="2085" y="800"/>
                  </a:lnTo>
                  <a:lnTo>
                    <a:pt x="2108" y="799"/>
                  </a:lnTo>
                  <a:lnTo>
                    <a:pt x="2130" y="796"/>
                  </a:lnTo>
                  <a:lnTo>
                    <a:pt x="2152" y="793"/>
                  </a:lnTo>
                  <a:lnTo>
                    <a:pt x="2174" y="788"/>
                  </a:lnTo>
                  <a:lnTo>
                    <a:pt x="2174" y="788"/>
                  </a:lnTo>
                  <a:lnTo>
                    <a:pt x="2178" y="793"/>
                  </a:lnTo>
                  <a:lnTo>
                    <a:pt x="2178" y="793"/>
                  </a:lnTo>
                  <a:lnTo>
                    <a:pt x="2190" y="810"/>
                  </a:lnTo>
                  <a:lnTo>
                    <a:pt x="2203" y="823"/>
                  </a:lnTo>
                  <a:lnTo>
                    <a:pt x="2217" y="835"/>
                  </a:lnTo>
                  <a:lnTo>
                    <a:pt x="2232" y="845"/>
                  </a:lnTo>
                  <a:lnTo>
                    <a:pt x="2247" y="853"/>
                  </a:lnTo>
                  <a:lnTo>
                    <a:pt x="2264" y="858"/>
                  </a:lnTo>
                  <a:lnTo>
                    <a:pt x="2280" y="861"/>
                  </a:lnTo>
                  <a:lnTo>
                    <a:pt x="2297" y="863"/>
                  </a:lnTo>
                  <a:lnTo>
                    <a:pt x="2297" y="863"/>
                  </a:lnTo>
                  <a:lnTo>
                    <a:pt x="2310" y="862"/>
                  </a:lnTo>
                  <a:lnTo>
                    <a:pt x="2323" y="860"/>
                  </a:lnTo>
                  <a:lnTo>
                    <a:pt x="2323" y="860"/>
                  </a:lnTo>
                  <a:lnTo>
                    <a:pt x="2329" y="858"/>
                  </a:lnTo>
                  <a:lnTo>
                    <a:pt x="2334" y="855"/>
                  </a:lnTo>
                  <a:lnTo>
                    <a:pt x="2338" y="852"/>
                  </a:lnTo>
                  <a:lnTo>
                    <a:pt x="2342" y="847"/>
                  </a:lnTo>
                  <a:lnTo>
                    <a:pt x="2344" y="843"/>
                  </a:lnTo>
                  <a:lnTo>
                    <a:pt x="2346" y="837"/>
                  </a:lnTo>
                  <a:lnTo>
                    <a:pt x="2346" y="831"/>
                  </a:lnTo>
                  <a:lnTo>
                    <a:pt x="2346" y="8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681">
              <a:extLst>
                <a:ext uri="{FF2B5EF4-FFF2-40B4-BE49-F238E27FC236}">
                  <a16:creationId xmlns:a16="http://schemas.microsoft.com/office/drawing/2014/main" id="{66731343-EDE2-4672-9454-F694D44E3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813" y="5459413"/>
              <a:ext cx="9525" cy="20638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12" y="25"/>
                </a:cxn>
                <a:cxn ang="0">
                  <a:pos x="21" y="13"/>
                </a:cxn>
                <a:cxn ang="0">
                  <a:pos x="30" y="5"/>
                </a:cxn>
                <a:cxn ang="0">
                  <a:pos x="35" y="1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40" y="2"/>
                </a:cxn>
                <a:cxn ang="0">
                  <a:pos x="42" y="6"/>
                </a:cxn>
                <a:cxn ang="0">
                  <a:pos x="43" y="12"/>
                </a:cxn>
                <a:cxn ang="0">
                  <a:pos x="44" y="19"/>
                </a:cxn>
                <a:cxn ang="0">
                  <a:pos x="44" y="27"/>
                </a:cxn>
                <a:cxn ang="0">
                  <a:pos x="43" y="38"/>
                </a:cxn>
                <a:cxn ang="0">
                  <a:pos x="41" y="48"/>
                </a:cxn>
                <a:cxn ang="0">
                  <a:pos x="37" y="59"/>
                </a:cxn>
                <a:cxn ang="0">
                  <a:pos x="37" y="59"/>
                </a:cxn>
                <a:cxn ang="0">
                  <a:pos x="37" y="60"/>
                </a:cxn>
                <a:cxn ang="0">
                  <a:pos x="37" y="60"/>
                </a:cxn>
                <a:cxn ang="0">
                  <a:pos x="31" y="75"/>
                </a:cxn>
                <a:cxn ang="0">
                  <a:pos x="22" y="87"/>
                </a:cxn>
                <a:cxn ang="0">
                  <a:pos x="14" y="99"/>
                </a:cxn>
                <a:cxn ang="0">
                  <a:pos x="5" y="107"/>
                </a:cxn>
                <a:cxn ang="0">
                  <a:pos x="5" y="107"/>
                </a:cxn>
                <a:cxn ang="0">
                  <a:pos x="3" y="95"/>
                </a:cxn>
                <a:cxn ang="0">
                  <a:pos x="1" y="84"/>
                </a:cxn>
                <a:cxn ang="0">
                  <a:pos x="0" y="73"/>
                </a:cxn>
                <a:cxn ang="0">
                  <a:pos x="1" y="62"/>
                </a:cxn>
                <a:cxn ang="0">
                  <a:pos x="2" y="52"/>
                </a:cxn>
                <a:cxn ang="0">
                  <a:pos x="4" y="43"/>
                </a:cxn>
                <a:cxn ang="0">
                  <a:pos x="7" y="34"/>
                </a:cxn>
                <a:cxn ang="0">
                  <a:pos x="12" y="25"/>
                </a:cxn>
              </a:cxnLst>
              <a:rect l="0" t="0" r="r" b="b"/>
              <a:pathLst>
                <a:path w="44" h="107">
                  <a:moveTo>
                    <a:pt x="12" y="25"/>
                  </a:moveTo>
                  <a:lnTo>
                    <a:pt x="12" y="25"/>
                  </a:lnTo>
                  <a:lnTo>
                    <a:pt x="21" y="13"/>
                  </a:lnTo>
                  <a:lnTo>
                    <a:pt x="30" y="5"/>
                  </a:lnTo>
                  <a:lnTo>
                    <a:pt x="35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6"/>
                  </a:lnTo>
                  <a:lnTo>
                    <a:pt x="43" y="12"/>
                  </a:lnTo>
                  <a:lnTo>
                    <a:pt x="44" y="19"/>
                  </a:lnTo>
                  <a:lnTo>
                    <a:pt x="44" y="27"/>
                  </a:lnTo>
                  <a:lnTo>
                    <a:pt x="43" y="38"/>
                  </a:lnTo>
                  <a:lnTo>
                    <a:pt x="41" y="48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1" y="75"/>
                  </a:lnTo>
                  <a:lnTo>
                    <a:pt x="22" y="87"/>
                  </a:lnTo>
                  <a:lnTo>
                    <a:pt x="14" y="99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95"/>
                  </a:lnTo>
                  <a:lnTo>
                    <a:pt x="1" y="84"/>
                  </a:lnTo>
                  <a:lnTo>
                    <a:pt x="0" y="73"/>
                  </a:lnTo>
                  <a:lnTo>
                    <a:pt x="1" y="62"/>
                  </a:lnTo>
                  <a:lnTo>
                    <a:pt x="2" y="52"/>
                  </a:lnTo>
                  <a:lnTo>
                    <a:pt x="4" y="43"/>
                  </a:lnTo>
                  <a:lnTo>
                    <a:pt x="7" y="34"/>
                  </a:lnTo>
                  <a:lnTo>
                    <a:pt x="12" y="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Rectangle 682">
              <a:extLst>
                <a:ext uri="{FF2B5EF4-FFF2-40B4-BE49-F238E27FC236}">
                  <a16:creationId xmlns:a16="http://schemas.microsoft.com/office/drawing/2014/main" id="{498B0A80-6C1C-439A-9415-2AAF0D2F6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solidFill>
              <a:srgbClr val="FAAB1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Rectangle 683">
              <a:extLst>
                <a:ext uri="{FF2B5EF4-FFF2-40B4-BE49-F238E27FC236}">
                  <a16:creationId xmlns:a16="http://schemas.microsoft.com/office/drawing/2014/main" id="{AE2A579E-2211-4764-9F82-6D0D7B683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205413"/>
              <a:ext cx="7938" cy="112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684">
              <a:extLst>
                <a:ext uri="{FF2B5EF4-FFF2-40B4-BE49-F238E27FC236}">
                  <a16:creationId xmlns:a16="http://schemas.microsoft.com/office/drawing/2014/main" id="{6F945E86-8BE5-4994-9E8D-FB345C1C2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685">
              <a:extLst>
                <a:ext uri="{FF2B5EF4-FFF2-40B4-BE49-F238E27FC236}">
                  <a16:creationId xmlns:a16="http://schemas.microsoft.com/office/drawing/2014/main" id="{E14FA0D6-ECF6-44BF-99AA-723631B68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5205413"/>
              <a:ext cx="111125" cy="112713"/>
            </a:xfrm>
            <a:custGeom>
              <a:avLst/>
              <a:gdLst/>
              <a:ahLst/>
              <a:cxnLst>
                <a:cxn ang="0">
                  <a:pos x="562" y="295"/>
                </a:cxn>
                <a:cxn ang="0">
                  <a:pos x="557" y="337"/>
                </a:cxn>
                <a:cxn ang="0">
                  <a:pos x="546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50" y="506"/>
                </a:cxn>
                <a:cxn ang="0">
                  <a:pos x="416" y="528"/>
                </a:cxn>
                <a:cxn ang="0">
                  <a:pos x="378" y="544"/>
                </a:cxn>
                <a:cxn ang="0">
                  <a:pos x="338" y="556"/>
                </a:cxn>
                <a:cxn ang="0">
                  <a:pos x="296" y="562"/>
                </a:cxn>
                <a:cxn ang="0">
                  <a:pos x="267" y="562"/>
                </a:cxn>
                <a:cxn ang="0">
                  <a:pos x="225" y="556"/>
                </a:cxn>
                <a:cxn ang="0">
                  <a:pos x="185" y="544"/>
                </a:cxn>
                <a:cxn ang="0">
                  <a:pos x="148" y="528"/>
                </a:cxn>
                <a:cxn ang="0">
                  <a:pos x="114" y="506"/>
                </a:cxn>
                <a:cxn ang="0">
                  <a:pos x="83" y="479"/>
                </a:cxn>
                <a:cxn ang="0">
                  <a:pos x="56" y="449"/>
                </a:cxn>
                <a:cxn ang="0">
                  <a:pos x="34" y="414"/>
                </a:cxn>
                <a:cxn ang="0">
                  <a:pos x="18" y="377"/>
                </a:cxn>
                <a:cxn ang="0">
                  <a:pos x="7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7" y="224"/>
                </a:cxn>
                <a:cxn ang="0">
                  <a:pos x="18" y="185"/>
                </a:cxn>
                <a:cxn ang="0">
                  <a:pos x="34" y="147"/>
                </a:cxn>
                <a:cxn ang="0">
                  <a:pos x="56" y="113"/>
                </a:cxn>
                <a:cxn ang="0">
                  <a:pos x="83" y="83"/>
                </a:cxn>
                <a:cxn ang="0">
                  <a:pos x="114" y="56"/>
                </a:cxn>
                <a:cxn ang="0">
                  <a:pos x="148" y="34"/>
                </a:cxn>
                <a:cxn ang="0">
                  <a:pos x="185" y="17"/>
                </a:cxn>
                <a:cxn ang="0">
                  <a:pos x="225" y="5"/>
                </a:cxn>
                <a:cxn ang="0">
                  <a:pos x="267" y="0"/>
                </a:cxn>
                <a:cxn ang="0">
                  <a:pos x="296" y="0"/>
                </a:cxn>
                <a:cxn ang="0">
                  <a:pos x="338" y="5"/>
                </a:cxn>
                <a:cxn ang="0">
                  <a:pos x="378" y="17"/>
                </a:cxn>
                <a:cxn ang="0">
                  <a:pos x="416" y="34"/>
                </a:cxn>
                <a:cxn ang="0">
                  <a:pos x="450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6" y="185"/>
                </a:cxn>
                <a:cxn ang="0">
                  <a:pos x="557" y="224"/>
                </a:cxn>
                <a:cxn ang="0">
                  <a:pos x="562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2" y="295"/>
                  </a:lnTo>
                  <a:lnTo>
                    <a:pt x="561" y="309"/>
                  </a:lnTo>
                  <a:lnTo>
                    <a:pt x="559" y="324"/>
                  </a:lnTo>
                  <a:lnTo>
                    <a:pt x="557" y="337"/>
                  </a:lnTo>
                  <a:lnTo>
                    <a:pt x="554" y="352"/>
                  </a:lnTo>
                  <a:lnTo>
                    <a:pt x="550" y="364"/>
                  </a:lnTo>
                  <a:lnTo>
                    <a:pt x="546" y="377"/>
                  </a:lnTo>
                  <a:lnTo>
                    <a:pt x="540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2" y="427"/>
                  </a:lnTo>
                  <a:lnTo>
                    <a:pt x="515" y="438"/>
                  </a:lnTo>
                  <a:lnTo>
                    <a:pt x="506" y="449"/>
                  </a:lnTo>
                  <a:lnTo>
                    <a:pt x="498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70" y="489"/>
                  </a:lnTo>
                  <a:lnTo>
                    <a:pt x="460" y="498"/>
                  </a:lnTo>
                  <a:lnTo>
                    <a:pt x="450" y="506"/>
                  </a:lnTo>
                  <a:lnTo>
                    <a:pt x="438" y="513"/>
                  </a:lnTo>
                  <a:lnTo>
                    <a:pt x="427" y="522"/>
                  </a:lnTo>
                  <a:lnTo>
                    <a:pt x="416" y="528"/>
                  </a:lnTo>
                  <a:lnTo>
                    <a:pt x="403" y="534"/>
                  </a:lnTo>
                  <a:lnTo>
                    <a:pt x="391" y="540"/>
                  </a:lnTo>
                  <a:lnTo>
                    <a:pt x="378" y="544"/>
                  </a:lnTo>
                  <a:lnTo>
                    <a:pt x="365" y="549"/>
                  </a:lnTo>
                  <a:lnTo>
                    <a:pt x="352" y="553"/>
                  </a:lnTo>
                  <a:lnTo>
                    <a:pt x="338" y="556"/>
                  </a:lnTo>
                  <a:lnTo>
                    <a:pt x="324" y="559"/>
                  </a:lnTo>
                  <a:lnTo>
                    <a:pt x="311" y="561"/>
                  </a:lnTo>
                  <a:lnTo>
                    <a:pt x="296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67" y="562"/>
                  </a:lnTo>
                  <a:lnTo>
                    <a:pt x="253" y="561"/>
                  </a:lnTo>
                  <a:lnTo>
                    <a:pt x="238" y="559"/>
                  </a:lnTo>
                  <a:lnTo>
                    <a:pt x="225" y="556"/>
                  </a:lnTo>
                  <a:lnTo>
                    <a:pt x="212" y="553"/>
                  </a:lnTo>
                  <a:lnTo>
                    <a:pt x="198" y="549"/>
                  </a:lnTo>
                  <a:lnTo>
                    <a:pt x="185" y="544"/>
                  </a:lnTo>
                  <a:lnTo>
                    <a:pt x="173" y="540"/>
                  </a:lnTo>
                  <a:lnTo>
                    <a:pt x="160" y="534"/>
                  </a:lnTo>
                  <a:lnTo>
                    <a:pt x="148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4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3" y="479"/>
                  </a:lnTo>
                  <a:lnTo>
                    <a:pt x="74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9" y="438"/>
                  </a:lnTo>
                  <a:lnTo>
                    <a:pt x="42" y="427"/>
                  </a:lnTo>
                  <a:lnTo>
                    <a:pt x="34" y="414"/>
                  </a:lnTo>
                  <a:lnTo>
                    <a:pt x="28" y="403"/>
                  </a:lnTo>
                  <a:lnTo>
                    <a:pt x="23" y="391"/>
                  </a:lnTo>
                  <a:lnTo>
                    <a:pt x="18" y="377"/>
                  </a:lnTo>
                  <a:lnTo>
                    <a:pt x="13" y="364"/>
                  </a:lnTo>
                  <a:lnTo>
                    <a:pt x="10" y="352"/>
                  </a:lnTo>
                  <a:lnTo>
                    <a:pt x="7" y="337"/>
                  </a:lnTo>
                  <a:lnTo>
                    <a:pt x="4" y="324"/>
                  </a:lnTo>
                  <a:lnTo>
                    <a:pt x="2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2" y="253"/>
                  </a:lnTo>
                  <a:lnTo>
                    <a:pt x="4" y="238"/>
                  </a:lnTo>
                  <a:lnTo>
                    <a:pt x="7" y="224"/>
                  </a:lnTo>
                  <a:lnTo>
                    <a:pt x="10" y="210"/>
                  </a:lnTo>
                  <a:lnTo>
                    <a:pt x="13" y="197"/>
                  </a:lnTo>
                  <a:lnTo>
                    <a:pt x="18" y="185"/>
                  </a:lnTo>
                  <a:lnTo>
                    <a:pt x="23" y="171"/>
                  </a:lnTo>
                  <a:lnTo>
                    <a:pt x="28" y="159"/>
                  </a:lnTo>
                  <a:lnTo>
                    <a:pt x="34" y="147"/>
                  </a:lnTo>
                  <a:lnTo>
                    <a:pt x="42" y="135"/>
                  </a:lnTo>
                  <a:lnTo>
                    <a:pt x="49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4" y="92"/>
                  </a:lnTo>
                  <a:lnTo>
                    <a:pt x="83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4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8" y="34"/>
                  </a:lnTo>
                  <a:lnTo>
                    <a:pt x="160" y="28"/>
                  </a:lnTo>
                  <a:lnTo>
                    <a:pt x="173" y="22"/>
                  </a:lnTo>
                  <a:lnTo>
                    <a:pt x="185" y="17"/>
                  </a:lnTo>
                  <a:lnTo>
                    <a:pt x="198" y="13"/>
                  </a:lnTo>
                  <a:lnTo>
                    <a:pt x="212" y="9"/>
                  </a:lnTo>
                  <a:lnTo>
                    <a:pt x="225" y="5"/>
                  </a:lnTo>
                  <a:lnTo>
                    <a:pt x="238" y="3"/>
                  </a:lnTo>
                  <a:lnTo>
                    <a:pt x="253" y="1"/>
                  </a:lnTo>
                  <a:lnTo>
                    <a:pt x="267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6" y="0"/>
                  </a:lnTo>
                  <a:lnTo>
                    <a:pt x="311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9"/>
                  </a:lnTo>
                  <a:lnTo>
                    <a:pt x="365" y="13"/>
                  </a:lnTo>
                  <a:lnTo>
                    <a:pt x="378" y="17"/>
                  </a:lnTo>
                  <a:lnTo>
                    <a:pt x="391" y="22"/>
                  </a:lnTo>
                  <a:lnTo>
                    <a:pt x="403" y="28"/>
                  </a:lnTo>
                  <a:lnTo>
                    <a:pt x="416" y="34"/>
                  </a:lnTo>
                  <a:lnTo>
                    <a:pt x="427" y="41"/>
                  </a:lnTo>
                  <a:lnTo>
                    <a:pt x="438" y="48"/>
                  </a:lnTo>
                  <a:lnTo>
                    <a:pt x="450" y="56"/>
                  </a:lnTo>
                  <a:lnTo>
                    <a:pt x="460" y="64"/>
                  </a:lnTo>
                  <a:lnTo>
                    <a:pt x="470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8" y="102"/>
                  </a:lnTo>
                  <a:lnTo>
                    <a:pt x="506" y="113"/>
                  </a:lnTo>
                  <a:lnTo>
                    <a:pt x="515" y="124"/>
                  </a:lnTo>
                  <a:lnTo>
                    <a:pt x="522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40" y="171"/>
                  </a:lnTo>
                  <a:lnTo>
                    <a:pt x="546" y="185"/>
                  </a:lnTo>
                  <a:lnTo>
                    <a:pt x="550" y="197"/>
                  </a:lnTo>
                  <a:lnTo>
                    <a:pt x="554" y="210"/>
                  </a:lnTo>
                  <a:lnTo>
                    <a:pt x="557" y="224"/>
                  </a:lnTo>
                  <a:lnTo>
                    <a:pt x="559" y="238"/>
                  </a:lnTo>
                  <a:lnTo>
                    <a:pt x="561" y="253"/>
                  </a:lnTo>
                  <a:lnTo>
                    <a:pt x="562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686">
              <a:extLst>
                <a:ext uri="{FF2B5EF4-FFF2-40B4-BE49-F238E27FC236}">
                  <a16:creationId xmlns:a16="http://schemas.microsoft.com/office/drawing/2014/main" id="{11230B55-DF95-414F-826A-A903D5224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5580063"/>
              <a:ext cx="76200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2" y="18"/>
                </a:cxn>
                <a:cxn ang="0">
                  <a:pos x="358" y="30"/>
                </a:cxn>
                <a:cxn ang="0">
                  <a:pos x="369" y="45"/>
                </a:cxn>
                <a:cxn ang="0">
                  <a:pos x="378" y="61"/>
                </a:cxn>
                <a:cxn ang="0">
                  <a:pos x="385" y="80"/>
                </a:cxn>
                <a:cxn ang="0">
                  <a:pos x="387" y="100"/>
                </a:cxn>
                <a:cxn ang="0">
                  <a:pos x="329" y="423"/>
                </a:cxn>
                <a:cxn ang="0">
                  <a:pos x="327" y="437"/>
                </a:cxn>
                <a:cxn ang="0">
                  <a:pos x="323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59" y="493"/>
                </a:cxn>
                <a:cxn ang="0">
                  <a:pos x="128" y="493"/>
                </a:cxn>
                <a:cxn ang="0">
                  <a:pos x="114" y="491"/>
                </a:cxn>
                <a:cxn ang="0">
                  <a:pos x="100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3" y="450"/>
                </a:cxn>
                <a:cxn ang="0">
                  <a:pos x="59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7" y="61"/>
                </a:cxn>
                <a:cxn ang="0">
                  <a:pos x="17" y="45"/>
                </a:cxn>
                <a:cxn ang="0">
                  <a:pos x="29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80" y="2"/>
                </a:cxn>
                <a:cxn ang="0">
                  <a:pos x="99" y="0"/>
                </a:cxn>
              </a:cxnLst>
              <a:rect l="0" t="0" r="r" b="b"/>
              <a:pathLst>
                <a:path w="387" h="493">
                  <a:moveTo>
                    <a:pt x="287" y="0"/>
                  </a:moveTo>
                  <a:lnTo>
                    <a:pt x="287" y="0"/>
                  </a:lnTo>
                  <a:lnTo>
                    <a:pt x="297" y="1"/>
                  </a:lnTo>
                  <a:lnTo>
                    <a:pt x="307" y="2"/>
                  </a:lnTo>
                  <a:lnTo>
                    <a:pt x="317" y="6"/>
                  </a:lnTo>
                  <a:lnTo>
                    <a:pt x="326" y="9"/>
                  </a:lnTo>
                  <a:lnTo>
                    <a:pt x="334" y="13"/>
                  </a:lnTo>
                  <a:lnTo>
                    <a:pt x="342" y="18"/>
                  </a:lnTo>
                  <a:lnTo>
                    <a:pt x="351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69" y="45"/>
                  </a:lnTo>
                  <a:lnTo>
                    <a:pt x="374" y="53"/>
                  </a:lnTo>
                  <a:lnTo>
                    <a:pt x="378" y="61"/>
                  </a:lnTo>
                  <a:lnTo>
                    <a:pt x="382" y="70"/>
                  </a:lnTo>
                  <a:lnTo>
                    <a:pt x="385" y="80"/>
                  </a:lnTo>
                  <a:lnTo>
                    <a:pt x="386" y="90"/>
                  </a:lnTo>
                  <a:lnTo>
                    <a:pt x="387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8" y="430"/>
                  </a:lnTo>
                  <a:lnTo>
                    <a:pt x="327" y="437"/>
                  </a:lnTo>
                  <a:lnTo>
                    <a:pt x="326" y="443"/>
                  </a:lnTo>
                  <a:lnTo>
                    <a:pt x="323" y="450"/>
                  </a:lnTo>
                  <a:lnTo>
                    <a:pt x="321" y="456"/>
                  </a:lnTo>
                  <a:lnTo>
                    <a:pt x="317" y="462"/>
                  </a:lnTo>
                  <a:lnTo>
                    <a:pt x="312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2" y="485"/>
                  </a:lnTo>
                  <a:lnTo>
                    <a:pt x="286" y="488"/>
                  </a:lnTo>
                  <a:lnTo>
                    <a:pt x="279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59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4" y="491"/>
                  </a:lnTo>
                  <a:lnTo>
                    <a:pt x="107" y="490"/>
                  </a:lnTo>
                  <a:lnTo>
                    <a:pt x="100" y="488"/>
                  </a:lnTo>
                  <a:lnTo>
                    <a:pt x="94" y="485"/>
                  </a:lnTo>
                  <a:lnTo>
                    <a:pt x="89" y="480"/>
                  </a:lnTo>
                  <a:lnTo>
                    <a:pt x="84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6" y="456"/>
                  </a:lnTo>
                  <a:lnTo>
                    <a:pt x="63" y="450"/>
                  </a:lnTo>
                  <a:lnTo>
                    <a:pt x="61" y="443"/>
                  </a:lnTo>
                  <a:lnTo>
                    <a:pt x="59" y="437"/>
                  </a:lnTo>
                  <a:lnTo>
                    <a:pt x="58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0"/>
                  </a:lnTo>
                  <a:lnTo>
                    <a:pt x="2" y="80"/>
                  </a:lnTo>
                  <a:lnTo>
                    <a:pt x="4" y="70"/>
                  </a:lnTo>
                  <a:lnTo>
                    <a:pt x="7" y="61"/>
                  </a:lnTo>
                  <a:lnTo>
                    <a:pt x="13" y="53"/>
                  </a:lnTo>
                  <a:lnTo>
                    <a:pt x="17" y="45"/>
                  </a:lnTo>
                  <a:lnTo>
                    <a:pt x="23" y="36"/>
                  </a:lnTo>
                  <a:lnTo>
                    <a:pt x="29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99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687">
              <a:extLst>
                <a:ext uri="{FF2B5EF4-FFF2-40B4-BE49-F238E27FC236}">
                  <a16:creationId xmlns:a16="http://schemas.microsoft.com/office/drawing/2014/main" id="{727881FC-F56D-4CC2-9313-1E001F7EA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688">
              <a:extLst>
                <a:ext uri="{FF2B5EF4-FFF2-40B4-BE49-F238E27FC236}">
                  <a16:creationId xmlns:a16="http://schemas.microsoft.com/office/drawing/2014/main" id="{31AF9BAF-E051-4A87-961C-EE1C0C29B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287" y="0"/>
                </a:cxn>
                <a:cxn ang="0">
                  <a:pos x="307" y="2"/>
                </a:cxn>
                <a:cxn ang="0">
                  <a:pos x="326" y="9"/>
                </a:cxn>
                <a:cxn ang="0">
                  <a:pos x="343" y="18"/>
                </a:cxn>
                <a:cxn ang="0">
                  <a:pos x="358" y="30"/>
                </a:cxn>
                <a:cxn ang="0">
                  <a:pos x="370" y="45"/>
                </a:cxn>
                <a:cxn ang="0">
                  <a:pos x="379" y="61"/>
                </a:cxn>
                <a:cxn ang="0">
                  <a:pos x="384" y="80"/>
                </a:cxn>
                <a:cxn ang="0">
                  <a:pos x="386" y="100"/>
                </a:cxn>
                <a:cxn ang="0">
                  <a:pos x="329" y="423"/>
                </a:cxn>
                <a:cxn ang="0">
                  <a:pos x="328" y="437"/>
                </a:cxn>
                <a:cxn ang="0">
                  <a:pos x="324" y="450"/>
                </a:cxn>
                <a:cxn ang="0">
                  <a:pos x="317" y="462"/>
                </a:cxn>
                <a:cxn ang="0">
                  <a:pos x="308" y="472"/>
                </a:cxn>
                <a:cxn ang="0">
                  <a:pos x="298" y="480"/>
                </a:cxn>
                <a:cxn ang="0">
                  <a:pos x="286" y="488"/>
                </a:cxn>
                <a:cxn ang="0">
                  <a:pos x="273" y="491"/>
                </a:cxn>
                <a:cxn ang="0">
                  <a:pos x="260" y="493"/>
                </a:cxn>
                <a:cxn ang="0">
                  <a:pos x="128" y="493"/>
                </a:cxn>
                <a:cxn ang="0">
                  <a:pos x="113" y="491"/>
                </a:cxn>
                <a:cxn ang="0">
                  <a:pos x="101" y="488"/>
                </a:cxn>
                <a:cxn ang="0">
                  <a:pos x="89" y="480"/>
                </a:cxn>
                <a:cxn ang="0">
                  <a:pos x="78" y="472"/>
                </a:cxn>
                <a:cxn ang="0">
                  <a:pos x="70" y="462"/>
                </a:cxn>
                <a:cxn ang="0">
                  <a:pos x="64" y="450"/>
                </a:cxn>
                <a:cxn ang="0">
                  <a:pos x="60" y="437"/>
                </a:cxn>
                <a:cxn ang="0">
                  <a:pos x="58" y="423"/>
                </a:cxn>
                <a:cxn ang="0">
                  <a:pos x="0" y="100"/>
                </a:cxn>
                <a:cxn ang="0">
                  <a:pos x="2" y="80"/>
                </a:cxn>
                <a:cxn ang="0">
                  <a:pos x="8" y="61"/>
                </a:cxn>
                <a:cxn ang="0">
                  <a:pos x="18" y="45"/>
                </a:cxn>
                <a:cxn ang="0">
                  <a:pos x="30" y="30"/>
                </a:cxn>
                <a:cxn ang="0">
                  <a:pos x="44" y="18"/>
                </a:cxn>
                <a:cxn ang="0">
                  <a:pos x="61" y="9"/>
                </a:cxn>
                <a:cxn ang="0">
                  <a:pos x="79" y="2"/>
                </a:cxn>
                <a:cxn ang="0">
                  <a:pos x="100" y="0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287" y="0"/>
                  </a:lnTo>
                  <a:lnTo>
                    <a:pt x="298" y="1"/>
                  </a:lnTo>
                  <a:lnTo>
                    <a:pt x="307" y="2"/>
                  </a:lnTo>
                  <a:lnTo>
                    <a:pt x="316" y="6"/>
                  </a:lnTo>
                  <a:lnTo>
                    <a:pt x="326" y="9"/>
                  </a:lnTo>
                  <a:lnTo>
                    <a:pt x="335" y="13"/>
                  </a:lnTo>
                  <a:lnTo>
                    <a:pt x="343" y="18"/>
                  </a:lnTo>
                  <a:lnTo>
                    <a:pt x="350" y="23"/>
                  </a:lnTo>
                  <a:lnTo>
                    <a:pt x="358" y="30"/>
                  </a:lnTo>
                  <a:lnTo>
                    <a:pt x="364" y="36"/>
                  </a:lnTo>
                  <a:lnTo>
                    <a:pt x="370" y="45"/>
                  </a:lnTo>
                  <a:lnTo>
                    <a:pt x="375" y="53"/>
                  </a:lnTo>
                  <a:lnTo>
                    <a:pt x="379" y="61"/>
                  </a:lnTo>
                  <a:lnTo>
                    <a:pt x="382" y="70"/>
                  </a:lnTo>
                  <a:lnTo>
                    <a:pt x="384" y="80"/>
                  </a:lnTo>
                  <a:lnTo>
                    <a:pt x="386" y="90"/>
                  </a:lnTo>
                  <a:lnTo>
                    <a:pt x="386" y="10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29" y="430"/>
                  </a:lnTo>
                  <a:lnTo>
                    <a:pt x="328" y="437"/>
                  </a:lnTo>
                  <a:lnTo>
                    <a:pt x="326" y="443"/>
                  </a:lnTo>
                  <a:lnTo>
                    <a:pt x="324" y="450"/>
                  </a:lnTo>
                  <a:lnTo>
                    <a:pt x="320" y="456"/>
                  </a:lnTo>
                  <a:lnTo>
                    <a:pt x="317" y="462"/>
                  </a:lnTo>
                  <a:lnTo>
                    <a:pt x="313" y="467"/>
                  </a:lnTo>
                  <a:lnTo>
                    <a:pt x="308" y="472"/>
                  </a:lnTo>
                  <a:lnTo>
                    <a:pt x="303" y="476"/>
                  </a:lnTo>
                  <a:lnTo>
                    <a:pt x="298" y="480"/>
                  </a:lnTo>
                  <a:lnTo>
                    <a:pt x="293" y="485"/>
                  </a:lnTo>
                  <a:lnTo>
                    <a:pt x="286" y="488"/>
                  </a:lnTo>
                  <a:lnTo>
                    <a:pt x="280" y="490"/>
                  </a:lnTo>
                  <a:lnTo>
                    <a:pt x="273" y="491"/>
                  </a:lnTo>
                  <a:lnTo>
                    <a:pt x="266" y="492"/>
                  </a:lnTo>
                  <a:lnTo>
                    <a:pt x="260" y="493"/>
                  </a:lnTo>
                  <a:lnTo>
                    <a:pt x="128" y="493"/>
                  </a:lnTo>
                  <a:lnTo>
                    <a:pt x="128" y="493"/>
                  </a:lnTo>
                  <a:lnTo>
                    <a:pt x="121" y="492"/>
                  </a:lnTo>
                  <a:lnTo>
                    <a:pt x="113" y="491"/>
                  </a:lnTo>
                  <a:lnTo>
                    <a:pt x="107" y="490"/>
                  </a:lnTo>
                  <a:lnTo>
                    <a:pt x="101" y="488"/>
                  </a:lnTo>
                  <a:lnTo>
                    <a:pt x="95" y="485"/>
                  </a:lnTo>
                  <a:lnTo>
                    <a:pt x="89" y="480"/>
                  </a:lnTo>
                  <a:lnTo>
                    <a:pt x="83" y="476"/>
                  </a:lnTo>
                  <a:lnTo>
                    <a:pt x="78" y="472"/>
                  </a:lnTo>
                  <a:lnTo>
                    <a:pt x="74" y="467"/>
                  </a:lnTo>
                  <a:lnTo>
                    <a:pt x="70" y="462"/>
                  </a:lnTo>
                  <a:lnTo>
                    <a:pt x="67" y="456"/>
                  </a:lnTo>
                  <a:lnTo>
                    <a:pt x="64" y="450"/>
                  </a:lnTo>
                  <a:lnTo>
                    <a:pt x="61" y="443"/>
                  </a:lnTo>
                  <a:lnTo>
                    <a:pt x="60" y="437"/>
                  </a:lnTo>
                  <a:lnTo>
                    <a:pt x="59" y="430"/>
                  </a:lnTo>
                  <a:lnTo>
                    <a:pt x="58" y="423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90"/>
                  </a:lnTo>
                  <a:lnTo>
                    <a:pt x="2" y="80"/>
                  </a:lnTo>
                  <a:lnTo>
                    <a:pt x="5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6"/>
                  </a:lnTo>
                  <a:lnTo>
                    <a:pt x="30" y="30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79" y="2"/>
                  </a:lnTo>
                  <a:lnTo>
                    <a:pt x="90" y="1"/>
                  </a:lnTo>
                  <a:lnTo>
                    <a:pt x="100" y="0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689">
              <a:extLst>
                <a:ext uri="{FF2B5EF4-FFF2-40B4-BE49-F238E27FC236}">
                  <a16:creationId xmlns:a16="http://schemas.microsoft.com/office/drawing/2014/main" id="{F3BF017D-F4EF-496B-8586-CC6312CB7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690">
              <a:extLst>
                <a:ext uri="{FF2B5EF4-FFF2-40B4-BE49-F238E27FC236}">
                  <a16:creationId xmlns:a16="http://schemas.microsoft.com/office/drawing/2014/main" id="{AF18B631-C6A0-469A-B524-F350BA18D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115888" cy="17463"/>
            </a:xfrm>
            <a:custGeom>
              <a:avLst/>
              <a:gdLst/>
              <a:ahLst/>
              <a:cxnLst>
                <a:cxn ang="0">
                  <a:pos x="30" y="95"/>
                </a:cxn>
                <a:cxn ang="0">
                  <a:pos x="20" y="93"/>
                </a:cxn>
                <a:cxn ang="0">
                  <a:pos x="12" y="89"/>
                </a:cxn>
                <a:cxn ang="0">
                  <a:pos x="5" y="82"/>
                </a:cxn>
                <a:cxn ang="0">
                  <a:pos x="1" y="73"/>
                </a:cxn>
                <a:cxn ang="0">
                  <a:pos x="0" y="67"/>
                </a:cxn>
                <a:cxn ang="0">
                  <a:pos x="2" y="56"/>
                </a:cxn>
                <a:cxn ang="0">
                  <a:pos x="7" y="47"/>
                </a:cxn>
                <a:cxn ang="0">
                  <a:pos x="16" y="39"/>
                </a:cxn>
                <a:cxn ang="0">
                  <a:pos x="21" y="37"/>
                </a:cxn>
                <a:cxn ang="0">
                  <a:pos x="88" y="21"/>
                </a:cxn>
                <a:cxn ang="0">
                  <a:pos x="155" y="9"/>
                </a:cxn>
                <a:cxn ang="0">
                  <a:pos x="224" y="2"/>
                </a:cxn>
                <a:cxn ang="0">
                  <a:pos x="293" y="0"/>
                </a:cxn>
                <a:cxn ang="0">
                  <a:pos x="328" y="1"/>
                </a:cxn>
                <a:cxn ang="0">
                  <a:pos x="396" y="5"/>
                </a:cxn>
                <a:cxn ang="0">
                  <a:pos x="464" y="15"/>
                </a:cxn>
                <a:cxn ang="0">
                  <a:pos x="530" y="28"/>
                </a:cxn>
                <a:cxn ang="0">
                  <a:pos x="563" y="36"/>
                </a:cxn>
                <a:cxn ang="0">
                  <a:pos x="574" y="41"/>
                </a:cxn>
                <a:cxn ang="0">
                  <a:pos x="581" y="50"/>
                </a:cxn>
                <a:cxn ang="0">
                  <a:pos x="585" y="61"/>
                </a:cxn>
                <a:cxn ang="0">
                  <a:pos x="584" y="72"/>
                </a:cxn>
                <a:cxn ang="0">
                  <a:pos x="582" y="77"/>
                </a:cxn>
                <a:cxn ang="0">
                  <a:pos x="575" y="87"/>
                </a:cxn>
                <a:cxn ang="0">
                  <a:pos x="564" y="92"/>
                </a:cxn>
                <a:cxn ang="0">
                  <a:pos x="553" y="94"/>
                </a:cxn>
                <a:cxn ang="0">
                  <a:pos x="548" y="93"/>
                </a:cxn>
                <a:cxn ang="0">
                  <a:pos x="486" y="78"/>
                </a:cxn>
                <a:cxn ang="0">
                  <a:pos x="422" y="67"/>
                </a:cxn>
                <a:cxn ang="0">
                  <a:pos x="358" y="61"/>
                </a:cxn>
                <a:cxn ang="0">
                  <a:pos x="293" y="59"/>
                </a:cxn>
                <a:cxn ang="0">
                  <a:pos x="261" y="60"/>
                </a:cxn>
                <a:cxn ang="0">
                  <a:pos x="195" y="64"/>
                </a:cxn>
                <a:cxn ang="0">
                  <a:pos x="132" y="72"/>
                </a:cxn>
                <a:cxn ang="0">
                  <a:pos x="69" y="86"/>
                </a:cxn>
                <a:cxn ang="0">
                  <a:pos x="38" y="94"/>
                </a:cxn>
              </a:cxnLst>
              <a:rect l="0" t="0" r="r" b="b"/>
              <a:pathLst>
                <a:path w="585" h="95">
                  <a:moveTo>
                    <a:pt x="30" y="95"/>
                  </a:moveTo>
                  <a:lnTo>
                    <a:pt x="30" y="95"/>
                  </a:lnTo>
                  <a:lnTo>
                    <a:pt x="24" y="94"/>
                  </a:lnTo>
                  <a:lnTo>
                    <a:pt x="20" y="93"/>
                  </a:lnTo>
                  <a:lnTo>
                    <a:pt x="16" y="91"/>
                  </a:lnTo>
                  <a:lnTo>
                    <a:pt x="12" y="89"/>
                  </a:lnTo>
                  <a:lnTo>
                    <a:pt x="8" y="86"/>
                  </a:lnTo>
                  <a:lnTo>
                    <a:pt x="5" y="82"/>
                  </a:lnTo>
                  <a:lnTo>
                    <a:pt x="3" y="7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2" y="56"/>
                  </a:lnTo>
                  <a:lnTo>
                    <a:pt x="4" y="51"/>
                  </a:lnTo>
                  <a:lnTo>
                    <a:pt x="7" y="47"/>
                  </a:lnTo>
                  <a:lnTo>
                    <a:pt x="11" y="42"/>
                  </a:lnTo>
                  <a:lnTo>
                    <a:pt x="16" y="39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54" y="28"/>
                  </a:lnTo>
                  <a:lnTo>
                    <a:pt x="88" y="21"/>
                  </a:lnTo>
                  <a:lnTo>
                    <a:pt x="121" y="15"/>
                  </a:lnTo>
                  <a:lnTo>
                    <a:pt x="155" y="9"/>
                  </a:lnTo>
                  <a:lnTo>
                    <a:pt x="190" y="5"/>
                  </a:lnTo>
                  <a:lnTo>
                    <a:pt x="224" y="2"/>
                  </a:lnTo>
                  <a:lnTo>
                    <a:pt x="259" y="1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328" y="1"/>
                  </a:lnTo>
                  <a:lnTo>
                    <a:pt x="362" y="2"/>
                  </a:lnTo>
                  <a:lnTo>
                    <a:pt x="396" y="5"/>
                  </a:lnTo>
                  <a:lnTo>
                    <a:pt x="430" y="9"/>
                  </a:lnTo>
                  <a:lnTo>
                    <a:pt x="464" y="15"/>
                  </a:lnTo>
                  <a:lnTo>
                    <a:pt x="497" y="21"/>
                  </a:lnTo>
                  <a:lnTo>
                    <a:pt x="530" y="28"/>
                  </a:lnTo>
                  <a:lnTo>
                    <a:pt x="563" y="36"/>
                  </a:lnTo>
                  <a:lnTo>
                    <a:pt x="563" y="36"/>
                  </a:lnTo>
                  <a:lnTo>
                    <a:pt x="568" y="38"/>
                  </a:lnTo>
                  <a:lnTo>
                    <a:pt x="574" y="41"/>
                  </a:lnTo>
                  <a:lnTo>
                    <a:pt x="578" y="45"/>
                  </a:lnTo>
                  <a:lnTo>
                    <a:pt x="581" y="50"/>
                  </a:lnTo>
                  <a:lnTo>
                    <a:pt x="583" y="55"/>
                  </a:lnTo>
                  <a:lnTo>
                    <a:pt x="585" y="61"/>
                  </a:lnTo>
                  <a:lnTo>
                    <a:pt x="585" y="66"/>
                  </a:lnTo>
                  <a:lnTo>
                    <a:pt x="584" y="72"/>
                  </a:lnTo>
                  <a:lnTo>
                    <a:pt x="584" y="72"/>
                  </a:lnTo>
                  <a:lnTo>
                    <a:pt x="582" y="77"/>
                  </a:lnTo>
                  <a:lnTo>
                    <a:pt x="579" y="83"/>
                  </a:lnTo>
                  <a:lnTo>
                    <a:pt x="575" y="87"/>
                  </a:lnTo>
                  <a:lnTo>
                    <a:pt x="569" y="90"/>
                  </a:lnTo>
                  <a:lnTo>
                    <a:pt x="564" y="92"/>
                  </a:lnTo>
                  <a:lnTo>
                    <a:pt x="559" y="94"/>
                  </a:lnTo>
                  <a:lnTo>
                    <a:pt x="553" y="94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17" y="85"/>
                  </a:lnTo>
                  <a:lnTo>
                    <a:pt x="486" y="78"/>
                  </a:lnTo>
                  <a:lnTo>
                    <a:pt x="454" y="72"/>
                  </a:lnTo>
                  <a:lnTo>
                    <a:pt x="422" y="67"/>
                  </a:lnTo>
                  <a:lnTo>
                    <a:pt x="390" y="64"/>
                  </a:lnTo>
                  <a:lnTo>
                    <a:pt x="358" y="61"/>
                  </a:lnTo>
                  <a:lnTo>
                    <a:pt x="326" y="59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61" y="60"/>
                  </a:lnTo>
                  <a:lnTo>
                    <a:pt x="228" y="61"/>
                  </a:lnTo>
                  <a:lnTo>
                    <a:pt x="195" y="64"/>
                  </a:lnTo>
                  <a:lnTo>
                    <a:pt x="163" y="67"/>
                  </a:lnTo>
                  <a:lnTo>
                    <a:pt x="132" y="72"/>
                  </a:lnTo>
                  <a:lnTo>
                    <a:pt x="100" y="78"/>
                  </a:lnTo>
                  <a:lnTo>
                    <a:pt x="69" y="8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0" y="9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691">
              <a:extLst>
                <a:ext uri="{FF2B5EF4-FFF2-40B4-BE49-F238E27FC236}">
                  <a16:creationId xmlns:a16="http://schemas.microsoft.com/office/drawing/2014/main" id="{7B47E495-3CD5-4AF5-BF12-B63C50DBC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692">
              <a:extLst>
                <a:ext uri="{FF2B5EF4-FFF2-40B4-BE49-F238E27FC236}">
                  <a16:creationId xmlns:a16="http://schemas.microsoft.com/office/drawing/2014/main" id="{10FFC1F7-BFDE-48E5-849B-185904265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111125" cy="112713"/>
            </a:xfrm>
            <a:custGeom>
              <a:avLst/>
              <a:gdLst/>
              <a:ahLst/>
              <a:cxnLst>
                <a:cxn ang="0">
                  <a:pos x="561" y="295"/>
                </a:cxn>
                <a:cxn ang="0">
                  <a:pos x="556" y="337"/>
                </a:cxn>
                <a:cxn ang="0">
                  <a:pos x="544" y="377"/>
                </a:cxn>
                <a:cxn ang="0">
                  <a:pos x="528" y="414"/>
                </a:cxn>
                <a:cxn ang="0">
                  <a:pos x="506" y="449"/>
                </a:cxn>
                <a:cxn ang="0">
                  <a:pos x="480" y="479"/>
                </a:cxn>
                <a:cxn ang="0">
                  <a:pos x="449" y="506"/>
                </a:cxn>
                <a:cxn ang="0">
                  <a:pos x="415" y="528"/>
                </a:cxn>
                <a:cxn ang="0">
                  <a:pos x="378" y="544"/>
                </a:cxn>
                <a:cxn ang="0">
                  <a:pos x="337" y="556"/>
                </a:cxn>
                <a:cxn ang="0">
                  <a:pos x="295" y="562"/>
                </a:cxn>
                <a:cxn ang="0">
                  <a:pos x="266" y="562"/>
                </a:cxn>
                <a:cxn ang="0">
                  <a:pos x="224" y="556"/>
                </a:cxn>
                <a:cxn ang="0">
                  <a:pos x="184" y="544"/>
                </a:cxn>
                <a:cxn ang="0">
                  <a:pos x="147" y="528"/>
                </a:cxn>
                <a:cxn ang="0">
                  <a:pos x="113" y="506"/>
                </a:cxn>
                <a:cxn ang="0">
                  <a:pos x="82" y="479"/>
                </a:cxn>
                <a:cxn ang="0">
                  <a:pos x="56" y="449"/>
                </a:cxn>
                <a:cxn ang="0">
                  <a:pos x="33" y="414"/>
                </a:cxn>
                <a:cxn ang="0">
                  <a:pos x="17" y="377"/>
                </a:cxn>
                <a:cxn ang="0">
                  <a:pos x="6" y="337"/>
                </a:cxn>
                <a:cxn ang="0">
                  <a:pos x="0" y="295"/>
                </a:cxn>
                <a:cxn ang="0">
                  <a:pos x="0" y="266"/>
                </a:cxn>
                <a:cxn ang="0">
                  <a:pos x="6" y="224"/>
                </a:cxn>
                <a:cxn ang="0">
                  <a:pos x="17" y="185"/>
                </a:cxn>
                <a:cxn ang="0">
                  <a:pos x="33" y="147"/>
                </a:cxn>
                <a:cxn ang="0">
                  <a:pos x="56" y="113"/>
                </a:cxn>
                <a:cxn ang="0">
                  <a:pos x="82" y="83"/>
                </a:cxn>
                <a:cxn ang="0">
                  <a:pos x="113" y="56"/>
                </a:cxn>
                <a:cxn ang="0">
                  <a:pos x="147" y="34"/>
                </a:cxn>
                <a:cxn ang="0">
                  <a:pos x="184" y="17"/>
                </a:cxn>
                <a:cxn ang="0">
                  <a:pos x="224" y="5"/>
                </a:cxn>
                <a:cxn ang="0">
                  <a:pos x="266" y="0"/>
                </a:cxn>
                <a:cxn ang="0">
                  <a:pos x="295" y="0"/>
                </a:cxn>
                <a:cxn ang="0">
                  <a:pos x="337" y="5"/>
                </a:cxn>
                <a:cxn ang="0">
                  <a:pos x="378" y="17"/>
                </a:cxn>
                <a:cxn ang="0">
                  <a:pos x="415" y="34"/>
                </a:cxn>
                <a:cxn ang="0">
                  <a:pos x="449" y="56"/>
                </a:cxn>
                <a:cxn ang="0">
                  <a:pos x="480" y="83"/>
                </a:cxn>
                <a:cxn ang="0">
                  <a:pos x="506" y="113"/>
                </a:cxn>
                <a:cxn ang="0">
                  <a:pos x="528" y="147"/>
                </a:cxn>
                <a:cxn ang="0">
                  <a:pos x="544" y="185"/>
                </a:cxn>
                <a:cxn ang="0">
                  <a:pos x="556" y="224"/>
                </a:cxn>
                <a:cxn ang="0">
                  <a:pos x="561" y="266"/>
                </a:cxn>
              </a:cxnLst>
              <a:rect l="0" t="0" r="r" b="b"/>
              <a:pathLst>
                <a:path w="562" h="562">
                  <a:moveTo>
                    <a:pt x="562" y="281"/>
                  </a:moveTo>
                  <a:lnTo>
                    <a:pt x="562" y="281"/>
                  </a:lnTo>
                  <a:lnTo>
                    <a:pt x="561" y="295"/>
                  </a:lnTo>
                  <a:lnTo>
                    <a:pt x="560" y="309"/>
                  </a:lnTo>
                  <a:lnTo>
                    <a:pt x="559" y="324"/>
                  </a:lnTo>
                  <a:lnTo>
                    <a:pt x="556" y="337"/>
                  </a:lnTo>
                  <a:lnTo>
                    <a:pt x="553" y="352"/>
                  </a:lnTo>
                  <a:lnTo>
                    <a:pt x="549" y="364"/>
                  </a:lnTo>
                  <a:lnTo>
                    <a:pt x="544" y="377"/>
                  </a:lnTo>
                  <a:lnTo>
                    <a:pt x="539" y="391"/>
                  </a:lnTo>
                  <a:lnTo>
                    <a:pt x="534" y="403"/>
                  </a:lnTo>
                  <a:lnTo>
                    <a:pt x="528" y="414"/>
                  </a:lnTo>
                  <a:lnTo>
                    <a:pt x="521" y="427"/>
                  </a:lnTo>
                  <a:lnTo>
                    <a:pt x="514" y="438"/>
                  </a:lnTo>
                  <a:lnTo>
                    <a:pt x="506" y="449"/>
                  </a:lnTo>
                  <a:lnTo>
                    <a:pt x="497" y="460"/>
                  </a:lnTo>
                  <a:lnTo>
                    <a:pt x="489" y="470"/>
                  </a:lnTo>
                  <a:lnTo>
                    <a:pt x="480" y="479"/>
                  </a:lnTo>
                  <a:lnTo>
                    <a:pt x="469" y="489"/>
                  </a:lnTo>
                  <a:lnTo>
                    <a:pt x="459" y="498"/>
                  </a:lnTo>
                  <a:lnTo>
                    <a:pt x="449" y="506"/>
                  </a:lnTo>
                  <a:lnTo>
                    <a:pt x="437" y="513"/>
                  </a:lnTo>
                  <a:lnTo>
                    <a:pt x="426" y="522"/>
                  </a:lnTo>
                  <a:lnTo>
                    <a:pt x="415" y="528"/>
                  </a:lnTo>
                  <a:lnTo>
                    <a:pt x="402" y="534"/>
                  </a:lnTo>
                  <a:lnTo>
                    <a:pt x="390" y="540"/>
                  </a:lnTo>
                  <a:lnTo>
                    <a:pt x="378" y="544"/>
                  </a:lnTo>
                  <a:lnTo>
                    <a:pt x="364" y="549"/>
                  </a:lnTo>
                  <a:lnTo>
                    <a:pt x="351" y="553"/>
                  </a:lnTo>
                  <a:lnTo>
                    <a:pt x="337" y="556"/>
                  </a:lnTo>
                  <a:lnTo>
                    <a:pt x="324" y="559"/>
                  </a:lnTo>
                  <a:lnTo>
                    <a:pt x="309" y="561"/>
                  </a:lnTo>
                  <a:lnTo>
                    <a:pt x="295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66" y="562"/>
                  </a:lnTo>
                  <a:lnTo>
                    <a:pt x="252" y="561"/>
                  </a:lnTo>
                  <a:lnTo>
                    <a:pt x="238" y="559"/>
                  </a:lnTo>
                  <a:lnTo>
                    <a:pt x="224" y="556"/>
                  </a:lnTo>
                  <a:lnTo>
                    <a:pt x="211" y="553"/>
                  </a:lnTo>
                  <a:lnTo>
                    <a:pt x="197" y="549"/>
                  </a:lnTo>
                  <a:lnTo>
                    <a:pt x="184" y="544"/>
                  </a:lnTo>
                  <a:lnTo>
                    <a:pt x="171" y="540"/>
                  </a:lnTo>
                  <a:lnTo>
                    <a:pt x="159" y="534"/>
                  </a:lnTo>
                  <a:lnTo>
                    <a:pt x="147" y="528"/>
                  </a:lnTo>
                  <a:lnTo>
                    <a:pt x="135" y="522"/>
                  </a:lnTo>
                  <a:lnTo>
                    <a:pt x="124" y="513"/>
                  </a:lnTo>
                  <a:lnTo>
                    <a:pt x="113" y="506"/>
                  </a:lnTo>
                  <a:lnTo>
                    <a:pt x="102" y="498"/>
                  </a:lnTo>
                  <a:lnTo>
                    <a:pt x="92" y="489"/>
                  </a:lnTo>
                  <a:lnTo>
                    <a:pt x="82" y="479"/>
                  </a:lnTo>
                  <a:lnTo>
                    <a:pt x="72" y="470"/>
                  </a:lnTo>
                  <a:lnTo>
                    <a:pt x="64" y="460"/>
                  </a:lnTo>
                  <a:lnTo>
                    <a:pt x="56" y="449"/>
                  </a:lnTo>
                  <a:lnTo>
                    <a:pt x="48" y="438"/>
                  </a:lnTo>
                  <a:lnTo>
                    <a:pt x="41" y="427"/>
                  </a:lnTo>
                  <a:lnTo>
                    <a:pt x="33" y="414"/>
                  </a:lnTo>
                  <a:lnTo>
                    <a:pt x="27" y="403"/>
                  </a:lnTo>
                  <a:lnTo>
                    <a:pt x="22" y="391"/>
                  </a:lnTo>
                  <a:lnTo>
                    <a:pt x="17" y="377"/>
                  </a:lnTo>
                  <a:lnTo>
                    <a:pt x="13" y="364"/>
                  </a:lnTo>
                  <a:lnTo>
                    <a:pt x="9" y="352"/>
                  </a:lnTo>
                  <a:lnTo>
                    <a:pt x="6" y="337"/>
                  </a:lnTo>
                  <a:lnTo>
                    <a:pt x="3" y="324"/>
                  </a:lnTo>
                  <a:lnTo>
                    <a:pt x="1" y="309"/>
                  </a:lnTo>
                  <a:lnTo>
                    <a:pt x="0" y="295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1" y="253"/>
                  </a:lnTo>
                  <a:lnTo>
                    <a:pt x="3" y="238"/>
                  </a:lnTo>
                  <a:lnTo>
                    <a:pt x="6" y="224"/>
                  </a:lnTo>
                  <a:lnTo>
                    <a:pt x="9" y="210"/>
                  </a:lnTo>
                  <a:lnTo>
                    <a:pt x="13" y="197"/>
                  </a:lnTo>
                  <a:lnTo>
                    <a:pt x="17" y="185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3" y="147"/>
                  </a:lnTo>
                  <a:lnTo>
                    <a:pt x="41" y="135"/>
                  </a:lnTo>
                  <a:lnTo>
                    <a:pt x="48" y="124"/>
                  </a:lnTo>
                  <a:lnTo>
                    <a:pt x="56" y="113"/>
                  </a:lnTo>
                  <a:lnTo>
                    <a:pt x="64" y="102"/>
                  </a:lnTo>
                  <a:lnTo>
                    <a:pt x="72" y="92"/>
                  </a:lnTo>
                  <a:lnTo>
                    <a:pt x="82" y="83"/>
                  </a:lnTo>
                  <a:lnTo>
                    <a:pt x="92" y="73"/>
                  </a:lnTo>
                  <a:lnTo>
                    <a:pt x="102" y="64"/>
                  </a:lnTo>
                  <a:lnTo>
                    <a:pt x="113" y="56"/>
                  </a:lnTo>
                  <a:lnTo>
                    <a:pt x="124" y="48"/>
                  </a:lnTo>
                  <a:lnTo>
                    <a:pt x="135" y="41"/>
                  </a:lnTo>
                  <a:lnTo>
                    <a:pt x="147" y="34"/>
                  </a:lnTo>
                  <a:lnTo>
                    <a:pt x="159" y="28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3"/>
                  </a:lnTo>
                  <a:lnTo>
                    <a:pt x="211" y="9"/>
                  </a:lnTo>
                  <a:lnTo>
                    <a:pt x="224" y="5"/>
                  </a:lnTo>
                  <a:lnTo>
                    <a:pt x="238" y="3"/>
                  </a:lnTo>
                  <a:lnTo>
                    <a:pt x="252" y="1"/>
                  </a:lnTo>
                  <a:lnTo>
                    <a:pt x="266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95" y="0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7" y="5"/>
                  </a:lnTo>
                  <a:lnTo>
                    <a:pt x="351" y="9"/>
                  </a:lnTo>
                  <a:lnTo>
                    <a:pt x="364" y="13"/>
                  </a:lnTo>
                  <a:lnTo>
                    <a:pt x="378" y="17"/>
                  </a:lnTo>
                  <a:lnTo>
                    <a:pt x="390" y="22"/>
                  </a:lnTo>
                  <a:lnTo>
                    <a:pt x="402" y="28"/>
                  </a:lnTo>
                  <a:lnTo>
                    <a:pt x="415" y="34"/>
                  </a:lnTo>
                  <a:lnTo>
                    <a:pt x="426" y="41"/>
                  </a:lnTo>
                  <a:lnTo>
                    <a:pt x="437" y="48"/>
                  </a:lnTo>
                  <a:lnTo>
                    <a:pt x="449" y="56"/>
                  </a:lnTo>
                  <a:lnTo>
                    <a:pt x="459" y="64"/>
                  </a:lnTo>
                  <a:lnTo>
                    <a:pt x="469" y="73"/>
                  </a:lnTo>
                  <a:lnTo>
                    <a:pt x="480" y="83"/>
                  </a:lnTo>
                  <a:lnTo>
                    <a:pt x="489" y="92"/>
                  </a:lnTo>
                  <a:lnTo>
                    <a:pt x="497" y="102"/>
                  </a:lnTo>
                  <a:lnTo>
                    <a:pt x="506" y="113"/>
                  </a:lnTo>
                  <a:lnTo>
                    <a:pt x="514" y="124"/>
                  </a:lnTo>
                  <a:lnTo>
                    <a:pt x="521" y="135"/>
                  </a:lnTo>
                  <a:lnTo>
                    <a:pt x="528" y="147"/>
                  </a:lnTo>
                  <a:lnTo>
                    <a:pt x="534" y="159"/>
                  </a:lnTo>
                  <a:lnTo>
                    <a:pt x="539" y="171"/>
                  </a:lnTo>
                  <a:lnTo>
                    <a:pt x="544" y="185"/>
                  </a:lnTo>
                  <a:lnTo>
                    <a:pt x="549" y="197"/>
                  </a:lnTo>
                  <a:lnTo>
                    <a:pt x="553" y="210"/>
                  </a:lnTo>
                  <a:lnTo>
                    <a:pt x="556" y="224"/>
                  </a:lnTo>
                  <a:lnTo>
                    <a:pt x="559" y="238"/>
                  </a:lnTo>
                  <a:lnTo>
                    <a:pt x="560" y="253"/>
                  </a:lnTo>
                  <a:lnTo>
                    <a:pt x="561" y="266"/>
                  </a:lnTo>
                  <a:lnTo>
                    <a:pt x="562" y="28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693">
              <a:extLst>
                <a:ext uri="{FF2B5EF4-FFF2-40B4-BE49-F238E27FC236}">
                  <a16:creationId xmlns:a16="http://schemas.microsoft.com/office/drawing/2014/main" id="{EA924B4C-DB08-4D3E-95CB-4FF788A1F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694">
              <a:extLst>
                <a:ext uri="{FF2B5EF4-FFF2-40B4-BE49-F238E27FC236}">
                  <a16:creationId xmlns:a16="http://schemas.microsoft.com/office/drawing/2014/main" id="{1F9FDBFD-7231-41A4-BCEA-FE1E8CBDD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88900" cy="90488"/>
            </a:xfrm>
            <a:custGeom>
              <a:avLst/>
              <a:gdLst/>
              <a:ahLst/>
              <a:cxnLst>
                <a:cxn ang="0">
                  <a:pos x="450" y="225"/>
                </a:cxn>
                <a:cxn ang="0">
                  <a:pos x="445" y="270"/>
                </a:cxn>
                <a:cxn ang="0">
                  <a:pos x="432" y="312"/>
                </a:cxn>
                <a:cxn ang="0">
                  <a:pos x="411" y="351"/>
                </a:cxn>
                <a:cxn ang="0">
                  <a:pos x="384" y="384"/>
                </a:cxn>
                <a:cxn ang="0">
                  <a:pos x="350" y="412"/>
                </a:cxn>
                <a:cxn ang="0">
                  <a:pos x="312" y="433"/>
                </a:cxn>
                <a:cxn ang="0">
                  <a:pos x="270" y="446"/>
                </a:cxn>
                <a:cxn ang="0">
                  <a:pos x="225" y="450"/>
                </a:cxn>
                <a:cxn ang="0">
                  <a:pos x="202" y="449"/>
                </a:cxn>
                <a:cxn ang="0">
                  <a:pos x="158" y="440"/>
                </a:cxn>
                <a:cxn ang="0">
                  <a:pos x="117" y="423"/>
                </a:cxn>
                <a:cxn ang="0">
                  <a:pos x="81" y="399"/>
                </a:cxn>
                <a:cxn ang="0">
                  <a:pos x="50" y="368"/>
                </a:cxn>
                <a:cxn ang="0">
                  <a:pos x="27" y="333"/>
                </a:cxn>
                <a:cxn ang="0">
                  <a:pos x="9" y="292"/>
                </a:cxn>
                <a:cxn ang="0">
                  <a:pos x="1" y="248"/>
                </a:cxn>
                <a:cxn ang="0">
                  <a:pos x="0" y="225"/>
                </a:cxn>
                <a:cxn ang="0">
                  <a:pos x="4" y="179"/>
                </a:cxn>
                <a:cxn ang="0">
                  <a:pos x="18" y="137"/>
                </a:cxn>
                <a:cxn ang="0">
                  <a:pos x="38" y="99"/>
                </a:cxn>
                <a:cxn ang="0">
                  <a:pos x="66" y="66"/>
                </a:cxn>
                <a:cxn ang="0">
                  <a:pos x="99" y="38"/>
                </a:cxn>
                <a:cxn ang="0">
                  <a:pos x="137" y="17"/>
                </a:cxn>
                <a:cxn ang="0">
                  <a:pos x="179" y="4"/>
                </a:cxn>
                <a:cxn ang="0">
                  <a:pos x="225" y="0"/>
                </a:cxn>
                <a:cxn ang="0">
                  <a:pos x="247" y="1"/>
                </a:cxn>
                <a:cxn ang="0">
                  <a:pos x="292" y="10"/>
                </a:cxn>
                <a:cxn ang="0">
                  <a:pos x="332" y="27"/>
                </a:cxn>
                <a:cxn ang="0">
                  <a:pos x="368" y="51"/>
                </a:cxn>
                <a:cxn ang="0">
                  <a:pos x="399" y="81"/>
                </a:cxn>
                <a:cxn ang="0">
                  <a:pos x="422" y="117"/>
                </a:cxn>
                <a:cxn ang="0">
                  <a:pos x="440" y="158"/>
                </a:cxn>
                <a:cxn ang="0">
                  <a:pos x="448" y="202"/>
                </a:cxn>
              </a:cxnLst>
              <a:rect l="0" t="0" r="r" b="b"/>
              <a:pathLst>
                <a:path w="450" h="450">
                  <a:moveTo>
                    <a:pt x="450" y="225"/>
                  </a:moveTo>
                  <a:lnTo>
                    <a:pt x="450" y="225"/>
                  </a:lnTo>
                  <a:lnTo>
                    <a:pt x="448" y="248"/>
                  </a:lnTo>
                  <a:lnTo>
                    <a:pt x="445" y="270"/>
                  </a:lnTo>
                  <a:lnTo>
                    <a:pt x="440" y="292"/>
                  </a:lnTo>
                  <a:lnTo>
                    <a:pt x="432" y="312"/>
                  </a:lnTo>
                  <a:lnTo>
                    <a:pt x="422" y="333"/>
                  </a:lnTo>
                  <a:lnTo>
                    <a:pt x="411" y="351"/>
                  </a:lnTo>
                  <a:lnTo>
                    <a:pt x="399" y="368"/>
                  </a:lnTo>
                  <a:lnTo>
                    <a:pt x="384" y="384"/>
                  </a:lnTo>
                  <a:lnTo>
                    <a:pt x="368" y="399"/>
                  </a:lnTo>
                  <a:lnTo>
                    <a:pt x="350" y="412"/>
                  </a:lnTo>
                  <a:lnTo>
                    <a:pt x="332" y="423"/>
                  </a:lnTo>
                  <a:lnTo>
                    <a:pt x="312" y="433"/>
                  </a:lnTo>
                  <a:lnTo>
                    <a:pt x="292" y="440"/>
                  </a:lnTo>
                  <a:lnTo>
                    <a:pt x="270" y="446"/>
                  </a:lnTo>
                  <a:lnTo>
                    <a:pt x="247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02" y="449"/>
                  </a:lnTo>
                  <a:lnTo>
                    <a:pt x="179" y="446"/>
                  </a:lnTo>
                  <a:lnTo>
                    <a:pt x="158" y="440"/>
                  </a:lnTo>
                  <a:lnTo>
                    <a:pt x="137" y="433"/>
                  </a:lnTo>
                  <a:lnTo>
                    <a:pt x="117" y="423"/>
                  </a:lnTo>
                  <a:lnTo>
                    <a:pt x="99" y="412"/>
                  </a:lnTo>
                  <a:lnTo>
                    <a:pt x="81" y="399"/>
                  </a:lnTo>
                  <a:lnTo>
                    <a:pt x="66" y="384"/>
                  </a:lnTo>
                  <a:lnTo>
                    <a:pt x="50" y="368"/>
                  </a:lnTo>
                  <a:lnTo>
                    <a:pt x="38" y="351"/>
                  </a:lnTo>
                  <a:lnTo>
                    <a:pt x="27" y="333"/>
                  </a:lnTo>
                  <a:lnTo>
                    <a:pt x="18" y="312"/>
                  </a:lnTo>
                  <a:lnTo>
                    <a:pt x="9" y="292"/>
                  </a:lnTo>
                  <a:lnTo>
                    <a:pt x="4" y="270"/>
                  </a:lnTo>
                  <a:lnTo>
                    <a:pt x="1" y="248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02"/>
                  </a:lnTo>
                  <a:lnTo>
                    <a:pt x="4" y="179"/>
                  </a:lnTo>
                  <a:lnTo>
                    <a:pt x="9" y="158"/>
                  </a:lnTo>
                  <a:lnTo>
                    <a:pt x="18" y="137"/>
                  </a:lnTo>
                  <a:lnTo>
                    <a:pt x="27" y="117"/>
                  </a:lnTo>
                  <a:lnTo>
                    <a:pt x="38" y="99"/>
                  </a:lnTo>
                  <a:lnTo>
                    <a:pt x="50" y="81"/>
                  </a:lnTo>
                  <a:lnTo>
                    <a:pt x="66" y="66"/>
                  </a:lnTo>
                  <a:lnTo>
                    <a:pt x="81" y="51"/>
                  </a:lnTo>
                  <a:lnTo>
                    <a:pt x="99" y="38"/>
                  </a:lnTo>
                  <a:lnTo>
                    <a:pt x="117" y="27"/>
                  </a:lnTo>
                  <a:lnTo>
                    <a:pt x="137" y="17"/>
                  </a:lnTo>
                  <a:lnTo>
                    <a:pt x="158" y="10"/>
                  </a:lnTo>
                  <a:lnTo>
                    <a:pt x="179" y="4"/>
                  </a:lnTo>
                  <a:lnTo>
                    <a:pt x="202" y="1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47" y="1"/>
                  </a:lnTo>
                  <a:lnTo>
                    <a:pt x="270" y="4"/>
                  </a:lnTo>
                  <a:lnTo>
                    <a:pt x="292" y="10"/>
                  </a:lnTo>
                  <a:lnTo>
                    <a:pt x="312" y="17"/>
                  </a:lnTo>
                  <a:lnTo>
                    <a:pt x="332" y="27"/>
                  </a:lnTo>
                  <a:lnTo>
                    <a:pt x="350" y="38"/>
                  </a:lnTo>
                  <a:lnTo>
                    <a:pt x="368" y="51"/>
                  </a:lnTo>
                  <a:lnTo>
                    <a:pt x="384" y="66"/>
                  </a:lnTo>
                  <a:lnTo>
                    <a:pt x="399" y="81"/>
                  </a:lnTo>
                  <a:lnTo>
                    <a:pt x="411" y="99"/>
                  </a:lnTo>
                  <a:lnTo>
                    <a:pt x="422" y="117"/>
                  </a:lnTo>
                  <a:lnTo>
                    <a:pt x="432" y="137"/>
                  </a:lnTo>
                  <a:lnTo>
                    <a:pt x="440" y="158"/>
                  </a:lnTo>
                  <a:lnTo>
                    <a:pt x="445" y="179"/>
                  </a:lnTo>
                  <a:lnTo>
                    <a:pt x="448" y="202"/>
                  </a:lnTo>
                  <a:lnTo>
                    <a:pt x="450" y="22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695">
              <a:extLst>
                <a:ext uri="{FF2B5EF4-FFF2-40B4-BE49-F238E27FC236}">
                  <a16:creationId xmlns:a16="http://schemas.microsoft.com/office/drawing/2014/main" id="{33E25A8D-A259-4F89-9704-3EE3F9C22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696">
              <a:extLst>
                <a:ext uri="{FF2B5EF4-FFF2-40B4-BE49-F238E27FC236}">
                  <a16:creationId xmlns:a16="http://schemas.microsoft.com/office/drawing/2014/main" id="{E5092274-D434-40F8-9EE6-01FFF7DFF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84138" cy="84138"/>
            </a:xfrm>
            <a:custGeom>
              <a:avLst/>
              <a:gdLst/>
              <a:ahLst/>
              <a:cxnLst>
                <a:cxn ang="0">
                  <a:pos x="416" y="209"/>
                </a:cxn>
                <a:cxn ang="0">
                  <a:pos x="412" y="251"/>
                </a:cxn>
                <a:cxn ang="0">
                  <a:pos x="400" y="290"/>
                </a:cxn>
                <a:cxn ang="0">
                  <a:pos x="381" y="325"/>
                </a:cxn>
                <a:cxn ang="0">
                  <a:pos x="355" y="356"/>
                </a:cxn>
                <a:cxn ang="0">
                  <a:pos x="324" y="382"/>
                </a:cxn>
                <a:cxn ang="0">
                  <a:pos x="289" y="401"/>
                </a:cxn>
                <a:cxn ang="0">
                  <a:pos x="250" y="413"/>
                </a:cxn>
                <a:cxn ang="0">
                  <a:pos x="208" y="418"/>
                </a:cxn>
                <a:cxn ang="0">
                  <a:pos x="186" y="416"/>
                </a:cxn>
                <a:cxn ang="0">
                  <a:pos x="146" y="407"/>
                </a:cxn>
                <a:cxn ang="0">
                  <a:pos x="109" y="392"/>
                </a:cxn>
                <a:cxn ang="0">
                  <a:pos x="75" y="369"/>
                </a:cxn>
                <a:cxn ang="0">
                  <a:pos x="47" y="341"/>
                </a:cxn>
                <a:cxn ang="0">
                  <a:pos x="25" y="308"/>
                </a:cxn>
                <a:cxn ang="0">
                  <a:pos x="9" y="271"/>
                </a:cxn>
                <a:cxn ang="0">
                  <a:pos x="1" y="230"/>
                </a:cxn>
                <a:cxn ang="0">
                  <a:pos x="0" y="209"/>
                </a:cxn>
                <a:cxn ang="0">
                  <a:pos x="4" y="167"/>
                </a:cxn>
                <a:cxn ang="0">
                  <a:pos x="16" y="128"/>
                </a:cxn>
                <a:cxn ang="0">
                  <a:pos x="35" y="92"/>
                </a:cxn>
                <a:cxn ang="0">
                  <a:pos x="61" y="62"/>
                </a:cxn>
                <a:cxn ang="0">
                  <a:pos x="92" y="37"/>
                </a:cxn>
                <a:cxn ang="0">
                  <a:pos x="127" y="17"/>
                </a:cxn>
                <a:cxn ang="0">
                  <a:pos x="166" y="5"/>
                </a:cxn>
                <a:cxn ang="0">
                  <a:pos x="208" y="0"/>
                </a:cxn>
                <a:cxn ang="0">
                  <a:pos x="230" y="1"/>
                </a:cxn>
                <a:cxn ang="0">
                  <a:pos x="270" y="10"/>
                </a:cxn>
                <a:cxn ang="0">
                  <a:pos x="307" y="26"/>
                </a:cxn>
                <a:cxn ang="0">
                  <a:pos x="341" y="48"/>
                </a:cxn>
                <a:cxn ang="0">
                  <a:pos x="369" y="77"/>
                </a:cxn>
                <a:cxn ang="0">
                  <a:pos x="391" y="110"/>
                </a:cxn>
                <a:cxn ang="0">
                  <a:pos x="407" y="147"/>
                </a:cxn>
                <a:cxn ang="0">
                  <a:pos x="415" y="188"/>
                </a:cxn>
              </a:cxnLst>
              <a:rect l="0" t="0" r="r" b="b"/>
              <a:pathLst>
                <a:path w="416" h="418">
                  <a:moveTo>
                    <a:pt x="416" y="209"/>
                  </a:moveTo>
                  <a:lnTo>
                    <a:pt x="416" y="209"/>
                  </a:lnTo>
                  <a:lnTo>
                    <a:pt x="415" y="230"/>
                  </a:lnTo>
                  <a:lnTo>
                    <a:pt x="412" y="251"/>
                  </a:lnTo>
                  <a:lnTo>
                    <a:pt x="407" y="271"/>
                  </a:lnTo>
                  <a:lnTo>
                    <a:pt x="400" y="290"/>
                  </a:lnTo>
                  <a:lnTo>
                    <a:pt x="391" y="308"/>
                  </a:lnTo>
                  <a:lnTo>
                    <a:pt x="381" y="325"/>
                  </a:lnTo>
                  <a:lnTo>
                    <a:pt x="369" y="341"/>
                  </a:lnTo>
                  <a:lnTo>
                    <a:pt x="355" y="356"/>
                  </a:lnTo>
                  <a:lnTo>
                    <a:pt x="341" y="369"/>
                  </a:lnTo>
                  <a:lnTo>
                    <a:pt x="324" y="382"/>
                  </a:lnTo>
                  <a:lnTo>
                    <a:pt x="307" y="392"/>
                  </a:lnTo>
                  <a:lnTo>
                    <a:pt x="289" y="401"/>
                  </a:lnTo>
                  <a:lnTo>
                    <a:pt x="270" y="407"/>
                  </a:lnTo>
                  <a:lnTo>
                    <a:pt x="250" y="413"/>
                  </a:lnTo>
                  <a:lnTo>
                    <a:pt x="230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186" y="416"/>
                  </a:lnTo>
                  <a:lnTo>
                    <a:pt x="166" y="413"/>
                  </a:lnTo>
                  <a:lnTo>
                    <a:pt x="146" y="407"/>
                  </a:lnTo>
                  <a:lnTo>
                    <a:pt x="127" y="401"/>
                  </a:lnTo>
                  <a:lnTo>
                    <a:pt x="109" y="392"/>
                  </a:lnTo>
                  <a:lnTo>
                    <a:pt x="92" y="382"/>
                  </a:lnTo>
                  <a:lnTo>
                    <a:pt x="75" y="369"/>
                  </a:lnTo>
                  <a:lnTo>
                    <a:pt x="61" y="356"/>
                  </a:lnTo>
                  <a:lnTo>
                    <a:pt x="47" y="341"/>
                  </a:lnTo>
                  <a:lnTo>
                    <a:pt x="35" y="325"/>
                  </a:lnTo>
                  <a:lnTo>
                    <a:pt x="25" y="308"/>
                  </a:lnTo>
                  <a:lnTo>
                    <a:pt x="16" y="290"/>
                  </a:lnTo>
                  <a:lnTo>
                    <a:pt x="9" y="271"/>
                  </a:lnTo>
                  <a:lnTo>
                    <a:pt x="4" y="251"/>
                  </a:lnTo>
                  <a:lnTo>
                    <a:pt x="1" y="230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188"/>
                  </a:lnTo>
                  <a:lnTo>
                    <a:pt x="4" y="167"/>
                  </a:lnTo>
                  <a:lnTo>
                    <a:pt x="9" y="147"/>
                  </a:lnTo>
                  <a:lnTo>
                    <a:pt x="16" y="128"/>
                  </a:lnTo>
                  <a:lnTo>
                    <a:pt x="25" y="110"/>
                  </a:lnTo>
                  <a:lnTo>
                    <a:pt x="35" y="92"/>
                  </a:lnTo>
                  <a:lnTo>
                    <a:pt x="47" y="77"/>
                  </a:lnTo>
                  <a:lnTo>
                    <a:pt x="61" y="62"/>
                  </a:lnTo>
                  <a:lnTo>
                    <a:pt x="75" y="48"/>
                  </a:lnTo>
                  <a:lnTo>
                    <a:pt x="92" y="37"/>
                  </a:lnTo>
                  <a:lnTo>
                    <a:pt x="109" y="26"/>
                  </a:lnTo>
                  <a:lnTo>
                    <a:pt x="127" y="17"/>
                  </a:lnTo>
                  <a:lnTo>
                    <a:pt x="146" y="10"/>
                  </a:lnTo>
                  <a:lnTo>
                    <a:pt x="166" y="5"/>
                  </a:lnTo>
                  <a:lnTo>
                    <a:pt x="186" y="1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30" y="1"/>
                  </a:lnTo>
                  <a:lnTo>
                    <a:pt x="250" y="5"/>
                  </a:lnTo>
                  <a:lnTo>
                    <a:pt x="270" y="10"/>
                  </a:lnTo>
                  <a:lnTo>
                    <a:pt x="289" y="17"/>
                  </a:lnTo>
                  <a:lnTo>
                    <a:pt x="307" y="26"/>
                  </a:lnTo>
                  <a:lnTo>
                    <a:pt x="324" y="37"/>
                  </a:lnTo>
                  <a:lnTo>
                    <a:pt x="341" y="48"/>
                  </a:lnTo>
                  <a:lnTo>
                    <a:pt x="355" y="62"/>
                  </a:lnTo>
                  <a:lnTo>
                    <a:pt x="369" y="77"/>
                  </a:lnTo>
                  <a:lnTo>
                    <a:pt x="381" y="92"/>
                  </a:lnTo>
                  <a:lnTo>
                    <a:pt x="391" y="110"/>
                  </a:lnTo>
                  <a:lnTo>
                    <a:pt x="400" y="128"/>
                  </a:lnTo>
                  <a:lnTo>
                    <a:pt x="407" y="147"/>
                  </a:lnTo>
                  <a:lnTo>
                    <a:pt x="412" y="167"/>
                  </a:lnTo>
                  <a:lnTo>
                    <a:pt x="415" y="188"/>
                  </a:lnTo>
                  <a:lnTo>
                    <a:pt x="416" y="209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697">
              <a:extLst>
                <a:ext uri="{FF2B5EF4-FFF2-40B4-BE49-F238E27FC236}">
                  <a16:creationId xmlns:a16="http://schemas.microsoft.com/office/drawing/2014/main" id="{405D9E5F-0AB3-4F59-8BA2-62759B464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close/>
                </a:path>
              </a:pathLst>
            </a:custGeom>
            <a:solidFill>
              <a:srgbClr val="CC88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698">
              <a:extLst>
                <a:ext uri="{FF2B5EF4-FFF2-40B4-BE49-F238E27FC236}">
                  <a16:creationId xmlns:a16="http://schemas.microsoft.com/office/drawing/2014/main" id="{A3368AB1-C7B0-494B-A967-BC9A7BEE1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</a:cxnLst>
              <a:rect l="0" t="0" r="r" b="b"/>
              <a:pathLst>
                <a:path w="87" h="87">
                  <a:moveTo>
                    <a:pt x="87" y="44"/>
                  </a:move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699">
              <a:extLst>
                <a:ext uri="{FF2B5EF4-FFF2-40B4-BE49-F238E27FC236}">
                  <a16:creationId xmlns:a16="http://schemas.microsoft.com/office/drawing/2014/main" id="{23576F5E-18CB-43FB-ABCA-E32A9814A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449" y="614"/>
                </a:cxn>
                <a:cxn ang="0">
                  <a:pos x="430" y="578"/>
                </a:cxn>
                <a:cxn ang="0">
                  <a:pos x="443" y="547"/>
                </a:cxn>
                <a:cxn ang="0">
                  <a:pos x="474" y="534"/>
                </a:cxn>
                <a:cxn ang="0">
                  <a:pos x="510" y="553"/>
                </a:cxn>
                <a:cxn ang="0">
                  <a:pos x="516" y="586"/>
                </a:cxn>
                <a:cxn ang="0">
                  <a:pos x="490" y="618"/>
                </a:cxn>
                <a:cxn ang="0">
                  <a:pos x="1126" y="0"/>
                </a:cxn>
                <a:cxn ang="0">
                  <a:pos x="932" y="25"/>
                </a:cxn>
                <a:cxn ang="0">
                  <a:pos x="753" y="81"/>
                </a:cxn>
                <a:cxn ang="0">
                  <a:pos x="594" y="166"/>
                </a:cxn>
                <a:cxn ang="0">
                  <a:pos x="460" y="275"/>
                </a:cxn>
                <a:cxn ang="0">
                  <a:pos x="355" y="405"/>
                </a:cxn>
                <a:cxn ang="0">
                  <a:pos x="283" y="551"/>
                </a:cxn>
                <a:cxn ang="0">
                  <a:pos x="59" y="584"/>
                </a:cxn>
                <a:cxn ang="0">
                  <a:pos x="27" y="600"/>
                </a:cxn>
                <a:cxn ang="0">
                  <a:pos x="6" y="627"/>
                </a:cxn>
                <a:cxn ang="0">
                  <a:pos x="0" y="764"/>
                </a:cxn>
                <a:cxn ang="0">
                  <a:pos x="3" y="926"/>
                </a:cxn>
                <a:cxn ang="0">
                  <a:pos x="32" y="970"/>
                </a:cxn>
                <a:cxn ang="0">
                  <a:pos x="65" y="989"/>
                </a:cxn>
                <a:cxn ang="0">
                  <a:pos x="315" y="1055"/>
                </a:cxn>
                <a:cxn ang="0">
                  <a:pos x="363" y="1136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38" y="1231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7" y="1299"/>
                </a:cxn>
                <a:cxn ang="0">
                  <a:pos x="564" y="1254"/>
                </a:cxn>
                <a:cxn ang="0">
                  <a:pos x="599" y="1222"/>
                </a:cxn>
                <a:cxn ang="0">
                  <a:pos x="646" y="1209"/>
                </a:cxn>
                <a:cxn ang="0">
                  <a:pos x="862" y="1215"/>
                </a:cxn>
                <a:cxn ang="0">
                  <a:pos x="904" y="1239"/>
                </a:cxn>
                <a:cxn ang="0">
                  <a:pos x="928" y="127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1010" y="1518"/>
                </a:cxn>
                <a:cxn ang="0">
                  <a:pos x="1029" y="1521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24" y="1528"/>
                </a:cxn>
                <a:cxn ang="0">
                  <a:pos x="1146" y="1529"/>
                </a:cxn>
                <a:cxn ang="0">
                  <a:pos x="1134" y="133"/>
                </a:cxn>
                <a:cxn ang="0">
                  <a:pos x="973" y="151"/>
                </a:cxn>
                <a:cxn ang="0">
                  <a:pos x="903" y="168"/>
                </a:cxn>
                <a:cxn ang="0">
                  <a:pos x="881" y="159"/>
                </a:cxn>
                <a:cxn ang="0">
                  <a:pos x="873" y="140"/>
                </a:cxn>
                <a:cxn ang="0">
                  <a:pos x="884" y="115"/>
                </a:cxn>
                <a:cxn ang="0">
                  <a:pos x="961" y="94"/>
                </a:cxn>
                <a:cxn ang="0">
                  <a:pos x="1132" y="74"/>
                </a:cxn>
              </a:cxnLst>
              <a:rect l="0" t="0" r="r" b="b"/>
              <a:pathLst>
                <a:path w="1166" h="1632">
                  <a:moveTo>
                    <a:pt x="474" y="621"/>
                  </a:moveTo>
                  <a:lnTo>
                    <a:pt x="474" y="621"/>
                  </a:lnTo>
                  <a:lnTo>
                    <a:pt x="465" y="620"/>
                  </a:lnTo>
                  <a:lnTo>
                    <a:pt x="456" y="618"/>
                  </a:lnTo>
                  <a:lnTo>
                    <a:pt x="449" y="614"/>
                  </a:lnTo>
                  <a:lnTo>
                    <a:pt x="443" y="609"/>
                  </a:lnTo>
                  <a:lnTo>
                    <a:pt x="438" y="602"/>
                  </a:lnTo>
                  <a:lnTo>
                    <a:pt x="434" y="594"/>
                  </a:lnTo>
                  <a:lnTo>
                    <a:pt x="431" y="586"/>
                  </a:lnTo>
                  <a:lnTo>
                    <a:pt x="430" y="578"/>
                  </a:lnTo>
                  <a:lnTo>
                    <a:pt x="430" y="578"/>
                  </a:lnTo>
                  <a:lnTo>
                    <a:pt x="431" y="569"/>
                  </a:lnTo>
                  <a:lnTo>
                    <a:pt x="434" y="560"/>
                  </a:lnTo>
                  <a:lnTo>
                    <a:pt x="438" y="553"/>
                  </a:lnTo>
                  <a:lnTo>
                    <a:pt x="443" y="547"/>
                  </a:lnTo>
                  <a:lnTo>
                    <a:pt x="449" y="542"/>
                  </a:lnTo>
                  <a:lnTo>
                    <a:pt x="456" y="538"/>
                  </a:lnTo>
                  <a:lnTo>
                    <a:pt x="465" y="535"/>
                  </a:lnTo>
                  <a:lnTo>
                    <a:pt x="474" y="534"/>
                  </a:lnTo>
                  <a:lnTo>
                    <a:pt x="474" y="534"/>
                  </a:lnTo>
                  <a:lnTo>
                    <a:pt x="482" y="535"/>
                  </a:lnTo>
                  <a:lnTo>
                    <a:pt x="490" y="538"/>
                  </a:lnTo>
                  <a:lnTo>
                    <a:pt x="499" y="542"/>
                  </a:lnTo>
                  <a:lnTo>
                    <a:pt x="505" y="547"/>
                  </a:lnTo>
                  <a:lnTo>
                    <a:pt x="510" y="553"/>
                  </a:lnTo>
                  <a:lnTo>
                    <a:pt x="514" y="560"/>
                  </a:lnTo>
                  <a:lnTo>
                    <a:pt x="516" y="569"/>
                  </a:lnTo>
                  <a:lnTo>
                    <a:pt x="517" y="578"/>
                  </a:lnTo>
                  <a:lnTo>
                    <a:pt x="517" y="578"/>
                  </a:lnTo>
                  <a:lnTo>
                    <a:pt x="516" y="586"/>
                  </a:lnTo>
                  <a:lnTo>
                    <a:pt x="514" y="594"/>
                  </a:lnTo>
                  <a:lnTo>
                    <a:pt x="510" y="602"/>
                  </a:lnTo>
                  <a:lnTo>
                    <a:pt x="505" y="609"/>
                  </a:lnTo>
                  <a:lnTo>
                    <a:pt x="499" y="614"/>
                  </a:lnTo>
                  <a:lnTo>
                    <a:pt x="490" y="618"/>
                  </a:lnTo>
                  <a:lnTo>
                    <a:pt x="482" y="620"/>
                  </a:lnTo>
                  <a:lnTo>
                    <a:pt x="474" y="621"/>
                  </a:lnTo>
                  <a:close/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700">
              <a:extLst>
                <a:ext uri="{FF2B5EF4-FFF2-40B4-BE49-F238E27FC236}">
                  <a16:creationId xmlns:a16="http://schemas.microsoft.com/office/drawing/2014/main" id="{228D00A3-BE1B-43C7-BDD2-2679112C4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87"/>
                </a:cxn>
                <a:cxn ang="0">
                  <a:pos x="44" y="87"/>
                </a:cxn>
                <a:cxn ang="0">
                  <a:pos x="35" y="86"/>
                </a:cxn>
                <a:cxn ang="0">
                  <a:pos x="26" y="84"/>
                </a:cxn>
                <a:cxn ang="0">
                  <a:pos x="19" y="80"/>
                </a:cxn>
                <a:cxn ang="0">
                  <a:pos x="13" y="75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35"/>
                </a:cxn>
                <a:cxn ang="0">
                  <a:pos x="4" y="26"/>
                </a:cxn>
                <a:cxn ang="0">
                  <a:pos x="8" y="19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26" y="4"/>
                </a:cxn>
                <a:cxn ang="0">
                  <a:pos x="35" y="1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52" y="1"/>
                </a:cxn>
                <a:cxn ang="0">
                  <a:pos x="60" y="4"/>
                </a:cxn>
                <a:cxn ang="0">
                  <a:pos x="69" y="8"/>
                </a:cxn>
                <a:cxn ang="0">
                  <a:pos x="75" y="13"/>
                </a:cxn>
                <a:cxn ang="0">
                  <a:pos x="80" y="19"/>
                </a:cxn>
                <a:cxn ang="0">
                  <a:pos x="84" y="26"/>
                </a:cxn>
                <a:cxn ang="0">
                  <a:pos x="86" y="35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52"/>
                </a:cxn>
                <a:cxn ang="0">
                  <a:pos x="84" y="60"/>
                </a:cxn>
                <a:cxn ang="0">
                  <a:pos x="80" y="68"/>
                </a:cxn>
                <a:cxn ang="0">
                  <a:pos x="75" y="75"/>
                </a:cxn>
                <a:cxn ang="0">
                  <a:pos x="69" y="80"/>
                </a:cxn>
                <a:cxn ang="0">
                  <a:pos x="60" y="84"/>
                </a:cxn>
                <a:cxn ang="0">
                  <a:pos x="52" y="86"/>
                </a:cxn>
                <a:cxn ang="0">
                  <a:pos x="44" y="87"/>
                </a:cxn>
              </a:cxnLst>
              <a:rect l="0" t="0" r="r" b="b"/>
              <a:pathLst>
                <a:path w="87" h="87">
                  <a:moveTo>
                    <a:pt x="44" y="87"/>
                  </a:moveTo>
                  <a:lnTo>
                    <a:pt x="44" y="87"/>
                  </a:lnTo>
                  <a:lnTo>
                    <a:pt x="35" y="86"/>
                  </a:lnTo>
                  <a:lnTo>
                    <a:pt x="26" y="84"/>
                  </a:lnTo>
                  <a:lnTo>
                    <a:pt x="19" y="80"/>
                  </a:lnTo>
                  <a:lnTo>
                    <a:pt x="13" y="75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8" y="19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1"/>
                  </a:lnTo>
                  <a:lnTo>
                    <a:pt x="60" y="4"/>
                  </a:lnTo>
                  <a:lnTo>
                    <a:pt x="69" y="8"/>
                  </a:lnTo>
                  <a:lnTo>
                    <a:pt x="75" y="13"/>
                  </a:lnTo>
                  <a:lnTo>
                    <a:pt x="80" y="19"/>
                  </a:lnTo>
                  <a:lnTo>
                    <a:pt x="84" y="26"/>
                  </a:lnTo>
                  <a:lnTo>
                    <a:pt x="86" y="35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9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701">
              <a:extLst>
                <a:ext uri="{FF2B5EF4-FFF2-40B4-BE49-F238E27FC236}">
                  <a16:creationId xmlns:a16="http://schemas.microsoft.com/office/drawing/2014/main" id="{6D7ECFBE-5BFC-431F-BAF3-754CB2AA4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251" y="5338763"/>
              <a:ext cx="231775" cy="323850"/>
            </a:xfrm>
            <a:custGeom>
              <a:avLst/>
              <a:gdLst/>
              <a:ahLst/>
              <a:cxnLst>
                <a:cxn ang="0">
                  <a:pos x="1087" y="3"/>
                </a:cxn>
                <a:cxn ang="0">
                  <a:pos x="932" y="25"/>
                </a:cxn>
                <a:cxn ang="0">
                  <a:pos x="787" y="68"/>
                </a:cxn>
                <a:cxn ang="0">
                  <a:pos x="655" y="129"/>
                </a:cxn>
                <a:cxn ang="0">
                  <a:pos x="538" y="207"/>
                </a:cxn>
                <a:cxn ang="0">
                  <a:pos x="437" y="299"/>
                </a:cxn>
                <a:cxn ang="0">
                  <a:pos x="355" y="405"/>
                </a:cxn>
                <a:cxn ang="0">
                  <a:pos x="295" y="521"/>
                </a:cxn>
                <a:cxn ang="0">
                  <a:pos x="73" y="583"/>
                </a:cxn>
                <a:cxn ang="0">
                  <a:pos x="45" y="588"/>
                </a:cxn>
                <a:cxn ang="0">
                  <a:pos x="21" y="605"/>
                </a:cxn>
                <a:cxn ang="0">
                  <a:pos x="6" y="627"/>
                </a:cxn>
                <a:cxn ang="0">
                  <a:pos x="0" y="656"/>
                </a:cxn>
                <a:cxn ang="0">
                  <a:pos x="1" y="912"/>
                </a:cxn>
                <a:cxn ang="0">
                  <a:pos x="9" y="941"/>
                </a:cxn>
                <a:cxn ang="0">
                  <a:pos x="38" y="976"/>
                </a:cxn>
                <a:cxn ang="0">
                  <a:pos x="65" y="989"/>
                </a:cxn>
                <a:cxn ang="0">
                  <a:pos x="315" y="1054"/>
                </a:cxn>
                <a:cxn ang="0">
                  <a:pos x="338" y="1096"/>
                </a:cxn>
                <a:cxn ang="0">
                  <a:pos x="364" y="1137"/>
                </a:cxn>
                <a:cxn ang="0">
                  <a:pos x="377" y="1157"/>
                </a:cxn>
                <a:cxn ang="0">
                  <a:pos x="407" y="1196"/>
                </a:cxn>
                <a:cxn ang="0">
                  <a:pos x="423" y="1216"/>
                </a:cxn>
                <a:cxn ang="0">
                  <a:pos x="440" y="1233"/>
                </a:cxn>
                <a:cxn ang="0">
                  <a:pos x="474" y="1267"/>
                </a:cxn>
                <a:cxn ang="0">
                  <a:pos x="493" y="1286"/>
                </a:cxn>
                <a:cxn ang="0">
                  <a:pos x="512" y="1301"/>
                </a:cxn>
                <a:cxn ang="0">
                  <a:pos x="546" y="1309"/>
                </a:cxn>
                <a:cxn ang="0">
                  <a:pos x="554" y="1270"/>
                </a:cxn>
                <a:cxn ang="0">
                  <a:pos x="576" y="1239"/>
                </a:cxn>
                <a:cxn ang="0">
                  <a:pos x="607" y="1218"/>
                </a:cxn>
                <a:cxn ang="0">
                  <a:pos x="646" y="1209"/>
                </a:cxn>
                <a:cxn ang="0">
                  <a:pos x="853" y="1211"/>
                </a:cxn>
                <a:cxn ang="0">
                  <a:pos x="889" y="1227"/>
                </a:cxn>
                <a:cxn ang="0">
                  <a:pos x="916" y="1254"/>
                </a:cxn>
                <a:cxn ang="0">
                  <a:pos x="930" y="1289"/>
                </a:cxn>
                <a:cxn ang="0">
                  <a:pos x="899" y="1496"/>
                </a:cxn>
                <a:cxn ang="0">
                  <a:pos x="949" y="1507"/>
                </a:cxn>
                <a:cxn ang="0">
                  <a:pos x="998" y="1516"/>
                </a:cxn>
                <a:cxn ang="0">
                  <a:pos x="1019" y="1520"/>
                </a:cxn>
                <a:cxn ang="0">
                  <a:pos x="1048" y="1523"/>
                </a:cxn>
                <a:cxn ang="0">
                  <a:pos x="1068" y="1525"/>
                </a:cxn>
                <a:cxn ang="0">
                  <a:pos x="1092" y="1527"/>
                </a:cxn>
                <a:cxn ang="0">
                  <a:pos x="1117" y="1528"/>
                </a:cxn>
                <a:cxn ang="0">
                  <a:pos x="1140" y="1529"/>
                </a:cxn>
                <a:cxn ang="0">
                  <a:pos x="1166" y="1529"/>
                </a:cxn>
                <a:cxn ang="0">
                  <a:pos x="1134" y="133"/>
                </a:cxn>
                <a:cxn ang="0">
                  <a:pos x="1005" y="145"/>
                </a:cxn>
                <a:cxn ang="0">
                  <a:pos x="911" y="167"/>
                </a:cxn>
                <a:cxn ang="0">
                  <a:pos x="893" y="166"/>
                </a:cxn>
                <a:cxn ang="0">
                  <a:pos x="878" y="155"/>
                </a:cxn>
                <a:cxn ang="0">
                  <a:pos x="873" y="140"/>
                </a:cxn>
                <a:cxn ang="0">
                  <a:pos x="880" y="120"/>
                </a:cxn>
                <a:cxn ang="0">
                  <a:pos x="894" y="110"/>
                </a:cxn>
                <a:cxn ang="0">
                  <a:pos x="1028" y="82"/>
                </a:cxn>
                <a:cxn ang="0">
                  <a:pos x="1166" y="73"/>
                </a:cxn>
              </a:cxnLst>
              <a:rect l="0" t="0" r="r" b="b"/>
              <a:pathLst>
                <a:path w="1166" h="1632">
                  <a:moveTo>
                    <a:pt x="1166" y="0"/>
                  </a:moveTo>
                  <a:lnTo>
                    <a:pt x="1166" y="0"/>
                  </a:lnTo>
                  <a:lnTo>
                    <a:pt x="1126" y="0"/>
                  </a:lnTo>
                  <a:lnTo>
                    <a:pt x="1087" y="3"/>
                  </a:lnTo>
                  <a:lnTo>
                    <a:pt x="1047" y="6"/>
                  </a:lnTo>
                  <a:lnTo>
                    <a:pt x="1009" y="11"/>
                  </a:lnTo>
                  <a:lnTo>
                    <a:pt x="969" y="18"/>
                  </a:lnTo>
                  <a:lnTo>
                    <a:pt x="932" y="25"/>
                  </a:lnTo>
                  <a:lnTo>
                    <a:pt x="895" y="34"/>
                  </a:lnTo>
                  <a:lnTo>
                    <a:pt x="858" y="43"/>
                  </a:lnTo>
                  <a:lnTo>
                    <a:pt x="822" y="55"/>
                  </a:lnTo>
                  <a:lnTo>
                    <a:pt x="787" y="68"/>
                  </a:lnTo>
                  <a:lnTo>
                    <a:pt x="753" y="81"/>
                  </a:lnTo>
                  <a:lnTo>
                    <a:pt x="720" y="96"/>
                  </a:lnTo>
                  <a:lnTo>
                    <a:pt x="687" y="112"/>
                  </a:lnTo>
                  <a:lnTo>
                    <a:pt x="655" y="129"/>
                  </a:lnTo>
                  <a:lnTo>
                    <a:pt x="624" y="146"/>
                  </a:lnTo>
                  <a:lnTo>
                    <a:pt x="594" y="166"/>
                  </a:lnTo>
                  <a:lnTo>
                    <a:pt x="566" y="185"/>
                  </a:lnTo>
                  <a:lnTo>
                    <a:pt x="538" y="207"/>
                  </a:lnTo>
                  <a:lnTo>
                    <a:pt x="511" y="229"/>
                  </a:lnTo>
                  <a:lnTo>
                    <a:pt x="485" y="251"/>
                  </a:lnTo>
                  <a:lnTo>
                    <a:pt x="460" y="275"/>
                  </a:lnTo>
                  <a:lnTo>
                    <a:pt x="437" y="299"/>
                  </a:lnTo>
                  <a:lnTo>
                    <a:pt x="414" y="325"/>
                  </a:lnTo>
                  <a:lnTo>
                    <a:pt x="393" y="350"/>
                  </a:lnTo>
                  <a:lnTo>
                    <a:pt x="374" y="377"/>
                  </a:lnTo>
                  <a:lnTo>
                    <a:pt x="355" y="405"/>
                  </a:lnTo>
                  <a:lnTo>
                    <a:pt x="338" y="433"/>
                  </a:lnTo>
                  <a:lnTo>
                    <a:pt x="322" y="462"/>
                  </a:lnTo>
                  <a:lnTo>
                    <a:pt x="308" y="491"/>
                  </a:lnTo>
                  <a:lnTo>
                    <a:pt x="295" y="521"/>
                  </a:lnTo>
                  <a:lnTo>
                    <a:pt x="283" y="551"/>
                  </a:lnTo>
                  <a:lnTo>
                    <a:pt x="273" y="583"/>
                  </a:lnTo>
                  <a:lnTo>
                    <a:pt x="73" y="583"/>
                  </a:lnTo>
                  <a:lnTo>
                    <a:pt x="73" y="583"/>
                  </a:lnTo>
                  <a:lnTo>
                    <a:pt x="66" y="583"/>
                  </a:lnTo>
                  <a:lnTo>
                    <a:pt x="59" y="584"/>
                  </a:lnTo>
                  <a:lnTo>
                    <a:pt x="51" y="586"/>
                  </a:lnTo>
                  <a:lnTo>
                    <a:pt x="45" y="588"/>
                  </a:lnTo>
                  <a:lnTo>
                    <a:pt x="39" y="591"/>
                  </a:lnTo>
                  <a:lnTo>
                    <a:pt x="33" y="595"/>
                  </a:lnTo>
                  <a:lnTo>
                    <a:pt x="27" y="600"/>
                  </a:lnTo>
                  <a:lnTo>
                    <a:pt x="21" y="605"/>
                  </a:lnTo>
                  <a:lnTo>
                    <a:pt x="16" y="610"/>
                  </a:lnTo>
                  <a:lnTo>
                    <a:pt x="12" y="615"/>
                  </a:lnTo>
                  <a:lnTo>
                    <a:pt x="9" y="621"/>
                  </a:lnTo>
                  <a:lnTo>
                    <a:pt x="6" y="627"/>
                  </a:lnTo>
                  <a:lnTo>
                    <a:pt x="3" y="635"/>
                  </a:lnTo>
                  <a:lnTo>
                    <a:pt x="2" y="642"/>
                  </a:lnTo>
                  <a:lnTo>
                    <a:pt x="1" y="649"/>
                  </a:lnTo>
                  <a:lnTo>
                    <a:pt x="0" y="656"/>
                  </a:lnTo>
                  <a:lnTo>
                    <a:pt x="0" y="764"/>
                  </a:lnTo>
                  <a:lnTo>
                    <a:pt x="0" y="904"/>
                  </a:lnTo>
                  <a:lnTo>
                    <a:pt x="0" y="904"/>
                  </a:lnTo>
                  <a:lnTo>
                    <a:pt x="1" y="912"/>
                  </a:lnTo>
                  <a:lnTo>
                    <a:pt x="2" y="919"/>
                  </a:lnTo>
                  <a:lnTo>
                    <a:pt x="3" y="926"/>
                  </a:lnTo>
                  <a:lnTo>
                    <a:pt x="6" y="933"/>
                  </a:lnTo>
                  <a:lnTo>
                    <a:pt x="9" y="941"/>
                  </a:lnTo>
                  <a:lnTo>
                    <a:pt x="12" y="948"/>
                  </a:lnTo>
                  <a:lnTo>
                    <a:pt x="21" y="960"/>
                  </a:lnTo>
                  <a:lnTo>
                    <a:pt x="32" y="970"/>
                  </a:lnTo>
                  <a:lnTo>
                    <a:pt x="38" y="976"/>
                  </a:lnTo>
                  <a:lnTo>
                    <a:pt x="44" y="980"/>
                  </a:lnTo>
                  <a:lnTo>
                    <a:pt x="51" y="984"/>
                  </a:lnTo>
                  <a:lnTo>
                    <a:pt x="58" y="987"/>
                  </a:lnTo>
                  <a:lnTo>
                    <a:pt x="65" y="989"/>
                  </a:lnTo>
                  <a:lnTo>
                    <a:pt x="72" y="991"/>
                  </a:lnTo>
                  <a:lnTo>
                    <a:pt x="305" y="1033"/>
                  </a:lnTo>
                  <a:lnTo>
                    <a:pt x="305" y="1033"/>
                  </a:lnTo>
                  <a:lnTo>
                    <a:pt x="315" y="1054"/>
                  </a:lnTo>
                  <a:lnTo>
                    <a:pt x="315" y="1055"/>
                  </a:lnTo>
                  <a:lnTo>
                    <a:pt x="315" y="1055"/>
                  </a:lnTo>
                  <a:lnTo>
                    <a:pt x="326" y="1076"/>
                  </a:lnTo>
                  <a:lnTo>
                    <a:pt x="338" y="1096"/>
                  </a:lnTo>
                  <a:lnTo>
                    <a:pt x="350" y="1117"/>
                  </a:lnTo>
                  <a:lnTo>
                    <a:pt x="363" y="1136"/>
                  </a:lnTo>
                  <a:lnTo>
                    <a:pt x="363" y="1136"/>
                  </a:lnTo>
                  <a:lnTo>
                    <a:pt x="364" y="1137"/>
                  </a:lnTo>
                  <a:lnTo>
                    <a:pt x="364" y="113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77" y="1157"/>
                  </a:lnTo>
                  <a:lnTo>
                    <a:pt x="391" y="1176"/>
                  </a:lnTo>
                  <a:lnTo>
                    <a:pt x="407" y="1195"/>
                  </a:lnTo>
                  <a:lnTo>
                    <a:pt x="407" y="1196"/>
                  </a:lnTo>
                  <a:lnTo>
                    <a:pt x="407" y="1196"/>
                  </a:lnTo>
                  <a:lnTo>
                    <a:pt x="421" y="1213"/>
                  </a:lnTo>
                  <a:lnTo>
                    <a:pt x="421" y="1213"/>
                  </a:lnTo>
                  <a:lnTo>
                    <a:pt x="423" y="1216"/>
                  </a:lnTo>
                  <a:lnTo>
                    <a:pt x="423" y="1216"/>
                  </a:lnTo>
                  <a:lnTo>
                    <a:pt x="438" y="1231"/>
                  </a:lnTo>
                  <a:lnTo>
                    <a:pt x="438" y="1231"/>
                  </a:lnTo>
                  <a:lnTo>
                    <a:pt x="440" y="1233"/>
                  </a:lnTo>
                  <a:lnTo>
                    <a:pt x="440" y="1233"/>
                  </a:lnTo>
                  <a:lnTo>
                    <a:pt x="456" y="1251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74" y="1267"/>
                  </a:lnTo>
                  <a:lnTo>
                    <a:pt x="490" y="1283"/>
                  </a:lnTo>
                  <a:lnTo>
                    <a:pt x="490" y="1283"/>
                  </a:lnTo>
                  <a:lnTo>
                    <a:pt x="493" y="1286"/>
                  </a:lnTo>
                  <a:lnTo>
                    <a:pt x="493" y="1286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12" y="1301"/>
                  </a:lnTo>
                  <a:lnTo>
                    <a:pt x="512" y="1301"/>
                  </a:lnTo>
                  <a:lnTo>
                    <a:pt x="531" y="1317"/>
                  </a:lnTo>
                  <a:lnTo>
                    <a:pt x="550" y="1332"/>
                  </a:lnTo>
                  <a:lnTo>
                    <a:pt x="546" y="1309"/>
                  </a:lnTo>
                  <a:lnTo>
                    <a:pt x="546" y="1309"/>
                  </a:lnTo>
                  <a:lnTo>
                    <a:pt x="547" y="1299"/>
                  </a:lnTo>
                  <a:lnTo>
                    <a:pt x="548" y="1289"/>
                  </a:lnTo>
                  <a:lnTo>
                    <a:pt x="551" y="1279"/>
                  </a:lnTo>
                  <a:lnTo>
                    <a:pt x="554" y="1270"/>
                  </a:lnTo>
                  <a:lnTo>
                    <a:pt x="558" y="1262"/>
                  </a:lnTo>
                  <a:lnTo>
                    <a:pt x="564" y="1254"/>
                  </a:lnTo>
                  <a:lnTo>
                    <a:pt x="569" y="1245"/>
                  </a:lnTo>
                  <a:lnTo>
                    <a:pt x="576" y="1239"/>
                  </a:lnTo>
                  <a:lnTo>
                    <a:pt x="582" y="1232"/>
                  </a:lnTo>
                  <a:lnTo>
                    <a:pt x="590" y="1227"/>
                  </a:lnTo>
                  <a:lnTo>
                    <a:pt x="599" y="1222"/>
                  </a:lnTo>
                  <a:lnTo>
                    <a:pt x="607" y="1218"/>
                  </a:lnTo>
                  <a:lnTo>
                    <a:pt x="616" y="1215"/>
                  </a:lnTo>
                  <a:lnTo>
                    <a:pt x="625" y="1211"/>
                  </a:lnTo>
                  <a:lnTo>
                    <a:pt x="636" y="1210"/>
                  </a:lnTo>
                  <a:lnTo>
                    <a:pt x="646" y="1209"/>
                  </a:lnTo>
                  <a:lnTo>
                    <a:pt x="833" y="1209"/>
                  </a:lnTo>
                  <a:lnTo>
                    <a:pt x="833" y="1209"/>
                  </a:lnTo>
                  <a:lnTo>
                    <a:pt x="844" y="1210"/>
                  </a:lnTo>
                  <a:lnTo>
                    <a:pt x="853" y="1211"/>
                  </a:lnTo>
                  <a:lnTo>
                    <a:pt x="862" y="1215"/>
                  </a:lnTo>
                  <a:lnTo>
                    <a:pt x="872" y="1218"/>
                  </a:lnTo>
                  <a:lnTo>
                    <a:pt x="881" y="1222"/>
                  </a:lnTo>
                  <a:lnTo>
                    <a:pt x="889" y="1227"/>
                  </a:lnTo>
                  <a:lnTo>
                    <a:pt x="896" y="1232"/>
                  </a:lnTo>
                  <a:lnTo>
                    <a:pt x="904" y="1239"/>
                  </a:lnTo>
                  <a:lnTo>
                    <a:pt x="910" y="1245"/>
                  </a:lnTo>
                  <a:lnTo>
                    <a:pt x="916" y="1254"/>
                  </a:lnTo>
                  <a:lnTo>
                    <a:pt x="921" y="1262"/>
                  </a:lnTo>
                  <a:lnTo>
                    <a:pt x="925" y="1270"/>
                  </a:lnTo>
                  <a:lnTo>
                    <a:pt x="928" y="1279"/>
                  </a:lnTo>
                  <a:lnTo>
                    <a:pt x="930" y="1289"/>
                  </a:lnTo>
                  <a:lnTo>
                    <a:pt x="932" y="1299"/>
                  </a:lnTo>
                  <a:lnTo>
                    <a:pt x="932" y="1309"/>
                  </a:lnTo>
                  <a:lnTo>
                    <a:pt x="875" y="1632"/>
                  </a:lnTo>
                  <a:lnTo>
                    <a:pt x="899" y="1496"/>
                  </a:lnTo>
                  <a:lnTo>
                    <a:pt x="899" y="1496"/>
                  </a:lnTo>
                  <a:lnTo>
                    <a:pt x="946" y="1507"/>
                  </a:lnTo>
                  <a:lnTo>
                    <a:pt x="946" y="1507"/>
                  </a:lnTo>
                  <a:lnTo>
                    <a:pt x="949" y="1507"/>
                  </a:lnTo>
                  <a:lnTo>
                    <a:pt x="949" y="1507"/>
                  </a:lnTo>
                  <a:lnTo>
                    <a:pt x="991" y="1515"/>
                  </a:lnTo>
                  <a:lnTo>
                    <a:pt x="991" y="1515"/>
                  </a:lnTo>
                  <a:lnTo>
                    <a:pt x="998" y="1516"/>
                  </a:lnTo>
                  <a:lnTo>
                    <a:pt x="998" y="1516"/>
                  </a:lnTo>
                  <a:lnTo>
                    <a:pt x="1010" y="1518"/>
                  </a:lnTo>
                  <a:lnTo>
                    <a:pt x="1010" y="1518"/>
                  </a:lnTo>
                  <a:lnTo>
                    <a:pt x="1019" y="1520"/>
                  </a:lnTo>
                  <a:lnTo>
                    <a:pt x="1019" y="1520"/>
                  </a:lnTo>
                  <a:lnTo>
                    <a:pt x="1029" y="1521"/>
                  </a:lnTo>
                  <a:lnTo>
                    <a:pt x="1029" y="1521"/>
                  </a:lnTo>
                  <a:lnTo>
                    <a:pt x="1048" y="1523"/>
                  </a:lnTo>
                  <a:lnTo>
                    <a:pt x="1048" y="1523"/>
                  </a:lnTo>
                  <a:lnTo>
                    <a:pt x="1056" y="1524"/>
                  </a:lnTo>
                  <a:lnTo>
                    <a:pt x="1056" y="1524"/>
                  </a:lnTo>
                  <a:lnTo>
                    <a:pt x="1068" y="1525"/>
                  </a:lnTo>
                  <a:lnTo>
                    <a:pt x="1068" y="1525"/>
                  </a:lnTo>
                  <a:lnTo>
                    <a:pt x="1077" y="1526"/>
                  </a:lnTo>
                  <a:lnTo>
                    <a:pt x="1077" y="1526"/>
                  </a:lnTo>
                  <a:lnTo>
                    <a:pt x="1092" y="1527"/>
                  </a:lnTo>
                  <a:lnTo>
                    <a:pt x="1092" y="1527"/>
                  </a:lnTo>
                  <a:lnTo>
                    <a:pt x="1097" y="1527"/>
                  </a:lnTo>
                  <a:lnTo>
                    <a:pt x="1097" y="1527"/>
                  </a:lnTo>
                  <a:lnTo>
                    <a:pt x="1117" y="1528"/>
                  </a:lnTo>
                  <a:lnTo>
                    <a:pt x="1117" y="1528"/>
                  </a:lnTo>
                  <a:lnTo>
                    <a:pt x="1124" y="1528"/>
                  </a:lnTo>
                  <a:lnTo>
                    <a:pt x="1124" y="1528"/>
                  </a:lnTo>
                  <a:lnTo>
                    <a:pt x="1140" y="1529"/>
                  </a:lnTo>
                  <a:lnTo>
                    <a:pt x="1140" y="1529"/>
                  </a:lnTo>
                  <a:lnTo>
                    <a:pt x="1146" y="1529"/>
                  </a:lnTo>
                  <a:lnTo>
                    <a:pt x="1146" y="1529"/>
                  </a:lnTo>
                  <a:lnTo>
                    <a:pt x="1166" y="1529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34" y="133"/>
                  </a:lnTo>
                  <a:lnTo>
                    <a:pt x="1101" y="134"/>
                  </a:lnTo>
                  <a:lnTo>
                    <a:pt x="1068" y="137"/>
                  </a:lnTo>
                  <a:lnTo>
                    <a:pt x="1036" y="140"/>
                  </a:lnTo>
                  <a:lnTo>
                    <a:pt x="1005" y="145"/>
                  </a:lnTo>
                  <a:lnTo>
                    <a:pt x="973" y="151"/>
                  </a:lnTo>
                  <a:lnTo>
                    <a:pt x="942" y="159"/>
                  </a:lnTo>
                  <a:lnTo>
                    <a:pt x="911" y="167"/>
                  </a:lnTo>
                  <a:lnTo>
                    <a:pt x="911" y="167"/>
                  </a:lnTo>
                  <a:lnTo>
                    <a:pt x="903" y="168"/>
                  </a:lnTo>
                  <a:lnTo>
                    <a:pt x="903" y="168"/>
                  </a:lnTo>
                  <a:lnTo>
                    <a:pt x="897" y="167"/>
                  </a:lnTo>
                  <a:lnTo>
                    <a:pt x="893" y="166"/>
                  </a:lnTo>
                  <a:lnTo>
                    <a:pt x="889" y="164"/>
                  </a:lnTo>
                  <a:lnTo>
                    <a:pt x="885" y="162"/>
                  </a:lnTo>
                  <a:lnTo>
                    <a:pt x="881" y="159"/>
                  </a:lnTo>
                  <a:lnTo>
                    <a:pt x="878" y="155"/>
                  </a:lnTo>
                  <a:lnTo>
                    <a:pt x="876" y="150"/>
                  </a:lnTo>
                  <a:lnTo>
                    <a:pt x="874" y="146"/>
                  </a:lnTo>
                  <a:lnTo>
                    <a:pt x="874" y="146"/>
                  </a:lnTo>
                  <a:lnTo>
                    <a:pt x="873" y="140"/>
                  </a:lnTo>
                  <a:lnTo>
                    <a:pt x="874" y="135"/>
                  </a:lnTo>
                  <a:lnTo>
                    <a:pt x="875" y="129"/>
                  </a:lnTo>
                  <a:lnTo>
                    <a:pt x="877" y="124"/>
                  </a:lnTo>
                  <a:lnTo>
                    <a:pt x="880" y="120"/>
                  </a:lnTo>
                  <a:lnTo>
                    <a:pt x="884" y="115"/>
                  </a:lnTo>
                  <a:lnTo>
                    <a:pt x="889" y="112"/>
                  </a:lnTo>
                  <a:lnTo>
                    <a:pt x="894" y="110"/>
                  </a:lnTo>
                  <a:lnTo>
                    <a:pt x="894" y="110"/>
                  </a:lnTo>
                  <a:lnTo>
                    <a:pt x="927" y="101"/>
                  </a:lnTo>
                  <a:lnTo>
                    <a:pt x="961" y="94"/>
                  </a:lnTo>
                  <a:lnTo>
                    <a:pt x="994" y="88"/>
                  </a:lnTo>
                  <a:lnTo>
                    <a:pt x="1028" y="82"/>
                  </a:lnTo>
                  <a:lnTo>
                    <a:pt x="1063" y="78"/>
                  </a:lnTo>
                  <a:lnTo>
                    <a:pt x="1097" y="75"/>
                  </a:lnTo>
                  <a:lnTo>
                    <a:pt x="1132" y="74"/>
                  </a:lnTo>
                  <a:lnTo>
                    <a:pt x="1166" y="73"/>
                  </a:lnTo>
                  <a:lnTo>
                    <a:pt x="1166" y="73"/>
                  </a:lnTo>
                  <a:lnTo>
                    <a:pt x="1166" y="0"/>
                  </a:lnTo>
                  <a:lnTo>
                    <a:pt x="11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702">
              <a:extLst>
                <a:ext uri="{FF2B5EF4-FFF2-40B4-BE49-F238E27FC236}">
                  <a16:creationId xmlns:a16="http://schemas.microsoft.com/office/drawing/2014/main" id="{B6DF5F4F-F6AE-46FA-A53D-3FCD21EA1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703">
              <a:extLst>
                <a:ext uri="{FF2B5EF4-FFF2-40B4-BE49-F238E27FC236}">
                  <a16:creationId xmlns:a16="http://schemas.microsoft.com/office/drawing/2014/main" id="{31E537EF-F1DF-40B6-B98E-073DAD636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201" y="5580063"/>
              <a:ext cx="77788" cy="96838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90" y="1"/>
                </a:cxn>
                <a:cxn ang="0">
                  <a:pos x="70" y="6"/>
                </a:cxn>
                <a:cxn ang="0">
                  <a:pos x="53" y="13"/>
                </a:cxn>
                <a:cxn ang="0">
                  <a:pos x="36" y="23"/>
                </a:cxn>
                <a:cxn ang="0">
                  <a:pos x="23" y="36"/>
                </a:cxn>
                <a:cxn ang="0">
                  <a:pos x="12" y="53"/>
                </a:cxn>
                <a:cxn ang="0">
                  <a:pos x="5" y="70"/>
                </a:cxn>
                <a:cxn ang="0">
                  <a:pos x="1" y="90"/>
                </a:cxn>
                <a:cxn ang="0">
                  <a:pos x="4" y="123"/>
                </a:cxn>
                <a:cxn ang="0">
                  <a:pos x="4" y="123"/>
                </a:cxn>
                <a:cxn ang="0">
                  <a:pos x="58" y="423"/>
                </a:cxn>
                <a:cxn ang="0">
                  <a:pos x="60" y="437"/>
                </a:cxn>
                <a:cxn ang="0">
                  <a:pos x="64" y="450"/>
                </a:cxn>
                <a:cxn ang="0">
                  <a:pos x="70" y="462"/>
                </a:cxn>
                <a:cxn ang="0">
                  <a:pos x="78" y="472"/>
                </a:cxn>
                <a:cxn ang="0">
                  <a:pos x="89" y="480"/>
                </a:cxn>
                <a:cxn ang="0">
                  <a:pos x="101" y="488"/>
                </a:cxn>
                <a:cxn ang="0">
                  <a:pos x="113" y="491"/>
                </a:cxn>
                <a:cxn ang="0">
                  <a:pos x="128" y="493"/>
                </a:cxn>
                <a:cxn ang="0">
                  <a:pos x="260" y="493"/>
                </a:cxn>
                <a:cxn ang="0">
                  <a:pos x="273" y="491"/>
                </a:cxn>
                <a:cxn ang="0">
                  <a:pos x="286" y="488"/>
                </a:cxn>
                <a:cxn ang="0">
                  <a:pos x="298" y="480"/>
                </a:cxn>
                <a:cxn ang="0">
                  <a:pos x="308" y="472"/>
                </a:cxn>
                <a:cxn ang="0">
                  <a:pos x="317" y="462"/>
                </a:cxn>
                <a:cxn ang="0">
                  <a:pos x="324" y="450"/>
                </a:cxn>
                <a:cxn ang="0">
                  <a:pos x="328" y="437"/>
                </a:cxn>
                <a:cxn ang="0">
                  <a:pos x="329" y="423"/>
                </a:cxn>
                <a:cxn ang="0">
                  <a:pos x="386" y="100"/>
                </a:cxn>
                <a:cxn ang="0">
                  <a:pos x="386" y="90"/>
                </a:cxn>
                <a:cxn ang="0">
                  <a:pos x="382" y="70"/>
                </a:cxn>
                <a:cxn ang="0">
                  <a:pos x="375" y="53"/>
                </a:cxn>
                <a:cxn ang="0">
                  <a:pos x="364" y="36"/>
                </a:cxn>
                <a:cxn ang="0">
                  <a:pos x="350" y="23"/>
                </a:cxn>
                <a:cxn ang="0">
                  <a:pos x="335" y="13"/>
                </a:cxn>
                <a:cxn ang="0">
                  <a:pos x="316" y="6"/>
                </a:cxn>
                <a:cxn ang="0">
                  <a:pos x="298" y="1"/>
                </a:cxn>
              </a:cxnLst>
              <a:rect l="0" t="0" r="r" b="b"/>
              <a:pathLst>
                <a:path w="386" h="493">
                  <a:moveTo>
                    <a:pt x="287" y="0"/>
                  </a:move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70" y="6"/>
                  </a:lnTo>
                  <a:lnTo>
                    <a:pt x="61" y="9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3"/>
                  </a:lnTo>
                  <a:lnTo>
                    <a:pt x="30" y="30"/>
                  </a:lnTo>
                  <a:lnTo>
                    <a:pt x="23" y="36"/>
                  </a:lnTo>
                  <a:lnTo>
                    <a:pt x="18" y="45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5" y="70"/>
                  </a:lnTo>
                  <a:lnTo>
                    <a:pt x="2" y="80"/>
                  </a:lnTo>
                  <a:lnTo>
                    <a:pt x="1" y="90"/>
                  </a:lnTo>
                  <a:lnTo>
                    <a:pt x="0" y="100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8" y="423"/>
                  </a:lnTo>
                  <a:lnTo>
                    <a:pt x="58" y="423"/>
                  </a:lnTo>
                  <a:lnTo>
                    <a:pt x="59" y="430"/>
                  </a:lnTo>
                  <a:lnTo>
                    <a:pt x="60" y="437"/>
                  </a:lnTo>
                  <a:lnTo>
                    <a:pt x="61" y="443"/>
                  </a:lnTo>
                  <a:lnTo>
                    <a:pt x="64" y="450"/>
                  </a:lnTo>
                  <a:lnTo>
                    <a:pt x="67" y="456"/>
                  </a:lnTo>
                  <a:lnTo>
                    <a:pt x="70" y="462"/>
                  </a:lnTo>
                  <a:lnTo>
                    <a:pt x="74" y="467"/>
                  </a:lnTo>
                  <a:lnTo>
                    <a:pt x="78" y="472"/>
                  </a:lnTo>
                  <a:lnTo>
                    <a:pt x="83" y="476"/>
                  </a:lnTo>
                  <a:lnTo>
                    <a:pt x="89" y="480"/>
                  </a:lnTo>
                  <a:lnTo>
                    <a:pt x="95" y="485"/>
                  </a:lnTo>
                  <a:lnTo>
                    <a:pt x="101" y="488"/>
                  </a:lnTo>
                  <a:lnTo>
                    <a:pt x="107" y="490"/>
                  </a:lnTo>
                  <a:lnTo>
                    <a:pt x="113" y="491"/>
                  </a:lnTo>
                  <a:lnTo>
                    <a:pt x="121" y="492"/>
                  </a:lnTo>
                  <a:lnTo>
                    <a:pt x="128" y="493"/>
                  </a:lnTo>
                  <a:lnTo>
                    <a:pt x="260" y="493"/>
                  </a:lnTo>
                  <a:lnTo>
                    <a:pt x="260" y="493"/>
                  </a:lnTo>
                  <a:lnTo>
                    <a:pt x="266" y="492"/>
                  </a:lnTo>
                  <a:lnTo>
                    <a:pt x="273" y="491"/>
                  </a:lnTo>
                  <a:lnTo>
                    <a:pt x="280" y="490"/>
                  </a:lnTo>
                  <a:lnTo>
                    <a:pt x="286" y="488"/>
                  </a:lnTo>
                  <a:lnTo>
                    <a:pt x="293" y="485"/>
                  </a:lnTo>
                  <a:lnTo>
                    <a:pt x="298" y="480"/>
                  </a:lnTo>
                  <a:lnTo>
                    <a:pt x="303" y="476"/>
                  </a:lnTo>
                  <a:lnTo>
                    <a:pt x="308" y="472"/>
                  </a:lnTo>
                  <a:lnTo>
                    <a:pt x="313" y="467"/>
                  </a:lnTo>
                  <a:lnTo>
                    <a:pt x="317" y="462"/>
                  </a:lnTo>
                  <a:lnTo>
                    <a:pt x="320" y="456"/>
                  </a:lnTo>
                  <a:lnTo>
                    <a:pt x="324" y="450"/>
                  </a:lnTo>
                  <a:lnTo>
                    <a:pt x="326" y="443"/>
                  </a:lnTo>
                  <a:lnTo>
                    <a:pt x="328" y="437"/>
                  </a:lnTo>
                  <a:lnTo>
                    <a:pt x="329" y="430"/>
                  </a:lnTo>
                  <a:lnTo>
                    <a:pt x="329" y="423"/>
                  </a:lnTo>
                  <a:lnTo>
                    <a:pt x="329" y="423"/>
                  </a:lnTo>
                  <a:lnTo>
                    <a:pt x="386" y="100"/>
                  </a:lnTo>
                  <a:lnTo>
                    <a:pt x="386" y="100"/>
                  </a:lnTo>
                  <a:lnTo>
                    <a:pt x="386" y="90"/>
                  </a:lnTo>
                  <a:lnTo>
                    <a:pt x="384" y="80"/>
                  </a:lnTo>
                  <a:lnTo>
                    <a:pt x="382" y="70"/>
                  </a:lnTo>
                  <a:lnTo>
                    <a:pt x="379" y="61"/>
                  </a:lnTo>
                  <a:lnTo>
                    <a:pt x="375" y="53"/>
                  </a:lnTo>
                  <a:lnTo>
                    <a:pt x="370" y="45"/>
                  </a:lnTo>
                  <a:lnTo>
                    <a:pt x="364" y="36"/>
                  </a:lnTo>
                  <a:lnTo>
                    <a:pt x="358" y="30"/>
                  </a:lnTo>
                  <a:lnTo>
                    <a:pt x="350" y="23"/>
                  </a:lnTo>
                  <a:lnTo>
                    <a:pt x="343" y="18"/>
                  </a:lnTo>
                  <a:lnTo>
                    <a:pt x="335" y="13"/>
                  </a:lnTo>
                  <a:lnTo>
                    <a:pt x="326" y="9"/>
                  </a:lnTo>
                  <a:lnTo>
                    <a:pt x="316" y="6"/>
                  </a:lnTo>
                  <a:lnTo>
                    <a:pt x="307" y="2"/>
                  </a:lnTo>
                  <a:lnTo>
                    <a:pt x="298" y="1"/>
                  </a:lnTo>
                  <a:lnTo>
                    <a:pt x="2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704">
              <a:extLst>
                <a:ext uri="{FF2B5EF4-FFF2-40B4-BE49-F238E27FC236}">
                  <a16:creationId xmlns:a16="http://schemas.microsoft.com/office/drawing/2014/main" id="{EC972D81-C2D8-4C8B-92D0-4923D1211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705">
              <a:extLst>
                <a:ext uri="{FF2B5EF4-FFF2-40B4-BE49-F238E27FC236}">
                  <a16:creationId xmlns:a16="http://schemas.microsoft.com/office/drawing/2014/main" id="{8167676D-7112-4C53-8151-556F8BE39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5354638"/>
              <a:ext cx="58738" cy="17463"/>
            </a:xfrm>
            <a:custGeom>
              <a:avLst/>
              <a:gdLst/>
              <a:ahLst/>
              <a:cxnLst>
                <a:cxn ang="0">
                  <a:pos x="293" y="0"/>
                </a:cxn>
                <a:cxn ang="0">
                  <a:pos x="293" y="0"/>
                </a:cxn>
                <a:cxn ang="0">
                  <a:pos x="259" y="1"/>
                </a:cxn>
                <a:cxn ang="0">
                  <a:pos x="224" y="2"/>
                </a:cxn>
                <a:cxn ang="0">
                  <a:pos x="190" y="5"/>
                </a:cxn>
                <a:cxn ang="0">
                  <a:pos x="155" y="9"/>
                </a:cxn>
                <a:cxn ang="0">
                  <a:pos x="121" y="15"/>
                </a:cxn>
                <a:cxn ang="0">
                  <a:pos x="88" y="21"/>
                </a:cxn>
                <a:cxn ang="0">
                  <a:pos x="54" y="28"/>
                </a:cxn>
                <a:cxn ang="0">
                  <a:pos x="21" y="37"/>
                </a:cxn>
                <a:cxn ang="0">
                  <a:pos x="21" y="37"/>
                </a:cxn>
                <a:cxn ang="0">
                  <a:pos x="16" y="39"/>
                </a:cxn>
                <a:cxn ang="0">
                  <a:pos x="11" y="42"/>
                </a:cxn>
                <a:cxn ang="0">
                  <a:pos x="7" y="47"/>
                </a:cxn>
                <a:cxn ang="0">
                  <a:pos x="4" y="51"/>
                </a:cxn>
                <a:cxn ang="0">
                  <a:pos x="2" y="56"/>
                </a:cxn>
                <a:cxn ang="0">
                  <a:pos x="1" y="62"/>
                </a:cxn>
                <a:cxn ang="0">
                  <a:pos x="0" y="67"/>
                </a:cxn>
                <a:cxn ang="0">
                  <a:pos x="1" y="73"/>
                </a:cxn>
                <a:cxn ang="0">
                  <a:pos x="1" y="73"/>
                </a:cxn>
                <a:cxn ang="0">
                  <a:pos x="3" y="77"/>
                </a:cxn>
                <a:cxn ang="0">
                  <a:pos x="5" y="82"/>
                </a:cxn>
                <a:cxn ang="0">
                  <a:pos x="8" y="86"/>
                </a:cxn>
                <a:cxn ang="0">
                  <a:pos x="12" y="89"/>
                </a:cxn>
                <a:cxn ang="0">
                  <a:pos x="16" y="91"/>
                </a:cxn>
                <a:cxn ang="0">
                  <a:pos x="20" y="93"/>
                </a:cxn>
                <a:cxn ang="0">
                  <a:pos x="24" y="94"/>
                </a:cxn>
                <a:cxn ang="0">
                  <a:pos x="30" y="95"/>
                </a:cxn>
                <a:cxn ang="0">
                  <a:pos x="30" y="95"/>
                </a:cxn>
                <a:cxn ang="0">
                  <a:pos x="38" y="94"/>
                </a:cxn>
                <a:cxn ang="0">
                  <a:pos x="38" y="94"/>
                </a:cxn>
                <a:cxn ang="0">
                  <a:pos x="69" y="86"/>
                </a:cxn>
                <a:cxn ang="0">
                  <a:pos x="100" y="78"/>
                </a:cxn>
                <a:cxn ang="0">
                  <a:pos x="132" y="72"/>
                </a:cxn>
                <a:cxn ang="0">
                  <a:pos x="163" y="67"/>
                </a:cxn>
                <a:cxn ang="0">
                  <a:pos x="195" y="64"/>
                </a:cxn>
                <a:cxn ang="0">
                  <a:pos x="228" y="61"/>
                </a:cxn>
                <a:cxn ang="0">
                  <a:pos x="261" y="60"/>
                </a:cxn>
                <a:cxn ang="0">
                  <a:pos x="293" y="59"/>
                </a:cxn>
                <a:cxn ang="0">
                  <a:pos x="293" y="59"/>
                </a:cxn>
                <a:cxn ang="0">
                  <a:pos x="293" y="0"/>
                </a:cxn>
                <a:cxn ang="0">
                  <a:pos x="293" y="0"/>
                </a:cxn>
              </a:cxnLst>
              <a:rect l="0" t="0" r="r" b="b"/>
              <a:pathLst>
                <a:path w="293" h="95">
                  <a:moveTo>
                    <a:pt x="293" y="0"/>
                  </a:moveTo>
                  <a:lnTo>
                    <a:pt x="293" y="0"/>
                  </a:lnTo>
                  <a:lnTo>
                    <a:pt x="259" y="1"/>
                  </a:lnTo>
                  <a:lnTo>
                    <a:pt x="224" y="2"/>
                  </a:lnTo>
                  <a:lnTo>
                    <a:pt x="190" y="5"/>
                  </a:lnTo>
                  <a:lnTo>
                    <a:pt x="155" y="9"/>
                  </a:lnTo>
                  <a:lnTo>
                    <a:pt x="121" y="15"/>
                  </a:lnTo>
                  <a:lnTo>
                    <a:pt x="88" y="21"/>
                  </a:lnTo>
                  <a:lnTo>
                    <a:pt x="54" y="2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16" y="39"/>
                  </a:lnTo>
                  <a:lnTo>
                    <a:pt x="11" y="42"/>
                  </a:lnTo>
                  <a:lnTo>
                    <a:pt x="7" y="47"/>
                  </a:lnTo>
                  <a:lnTo>
                    <a:pt x="4" y="51"/>
                  </a:lnTo>
                  <a:lnTo>
                    <a:pt x="2" y="56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3" y="77"/>
                  </a:lnTo>
                  <a:lnTo>
                    <a:pt x="5" y="82"/>
                  </a:lnTo>
                  <a:lnTo>
                    <a:pt x="8" y="86"/>
                  </a:lnTo>
                  <a:lnTo>
                    <a:pt x="12" y="89"/>
                  </a:lnTo>
                  <a:lnTo>
                    <a:pt x="16" y="91"/>
                  </a:lnTo>
                  <a:lnTo>
                    <a:pt x="20" y="93"/>
                  </a:lnTo>
                  <a:lnTo>
                    <a:pt x="24" y="94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69" y="86"/>
                  </a:lnTo>
                  <a:lnTo>
                    <a:pt x="100" y="78"/>
                  </a:lnTo>
                  <a:lnTo>
                    <a:pt x="132" y="72"/>
                  </a:lnTo>
                  <a:lnTo>
                    <a:pt x="163" y="67"/>
                  </a:lnTo>
                  <a:lnTo>
                    <a:pt x="195" y="64"/>
                  </a:lnTo>
                  <a:lnTo>
                    <a:pt x="228" y="61"/>
                  </a:lnTo>
                  <a:lnTo>
                    <a:pt x="261" y="60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0"/>
                  </a:lnTo>
                  <a:lnTo>
                    <a:pt x="29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706">
              <a:extLst>
                <a:ext uri="{FF2B5EF4-FFF2-40B4-BE49-F238E27FC236}">
                  <a16:creationId xmlns:a16="http://schemas.microsoft.com/office/drawing/2014/main" id="{15097AF2-0094-4941-B560-10111949C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707">
              <a:extLst>
                <a:ext uri="{FF2B5EF4-FFF2-40B4-BE49-F238E27FC236}">
                  <a16:creationId xmlns:a16="http://schemas.microsoft.com/office/drawing/2014/main" id="{670DB0F5-5F03-4752-B4D0-073B8135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5445125"/>
              <a:ext cx="17463" cy="1746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5" y="1"/>
                </a:cxn>
                <a:cxn ang="0">
                  <a:pos x="26" y="4"/>
                </a:cxn>
                <a:cxn ang="0">
                  <a:pos x="19" y="8"/>
                </a:cxn>
                <a:cxn ang="0">
                  <a:pos x="13" y="13"/>
                </a:cxn>
                <a:cxn ang="0">
                  <a:pos x="8" y="19"/>
                </a:cxn>
                <a:cxn ang="0">
                  <a:pos x="4" y="26"/>
                </a:cxn>
                <a:cxn ang="0">
                  <a:pos x="1" y="35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1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3" y="75"/>
                </a:cxn>
                <a:cxn ang="0">
                  <a:pos x="19" y="80"/>
                </a:cxn>
                <a:cxn ang="0">
                  <a:pos x="26" y="84"/>
                </a:cxn>
                <a:cxn ang="0">
                  <a:pos x="35" y="86"/>
                </a:cxn>
                <a:cxn ang="0">
                  <a:pos x="44" y="87"/>
                </a:cxn>
                <a:cxn ang="0">
                  <a:pos x="44" y="87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9" y="80"/>
                </a:cxn>
                <a:cxn ang="0">
                  <a:pos x="75" y="75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7" y="44"/>
                </a:cxn>
                <a:cxn ang="0">
                  <a:pos x="87" y="44"/>
                </a:cxn>
                <a:cxn ang="0">
                  <a:pos x="86" y="35"/>
                </a:cxn>
                <a:cxn ang="0">
                  <a:pos x="84" y="26"/>
                </a:cxn>
                <a:cxn ang="0">
                  <a:pos x="80" y="19"/>
                </a:cxn>
                <a:cxn ang="0">
                  <a:pos x="75" y="13"/>
                </a:cxn>
                <a:cxn ang="0">
                  <a:pos x="69" y="8"/>
                </a:cxn>
                <a:cxn ang="0">
                  <a:pos x="60" y="4"/>
                </a:cxn>
                <a:cxn ang="0">
                  <a:pos x="52" y="1"/>
                </a:cxn>
                <a:cxn ang="0">
                  <a:pos x="44" y="0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19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5"/>
                  </a:lnTo>
                  <a:lnTo>
                    <a:pt x="19" y="80"/>
                  </a:lnTo>
                  <a:lnTo>
                    <a:pt x="26" y="84"/>
                  </a:lnTo>
                  <a:lnTo>
                    <a:pt x="35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9" y="80"/>
                  </a:lnTo>
                  <a:lnTo>
                    <a:pt x="75" y="75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35"/>
                  </a:lnTo>
                  <a:lnTo>
                    <a:pt x="84" y="26"/>
                  </a:lnTo>
                  <a:lnTo>
                    <a:pt x="80" y="19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0" y="4"/>
                  </a:lnTo>
                  <a:lnTo>
                    <a:pt x="52" y="1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708">
              <a:extLst>
                <a:ext uri="{FF2B5EF4-FFF2-40B4-BE49-F238E27FC236}">
                  <a16:creationId xmlns:a16="http://schemas.microsoft.com/office/drawing/2014/main" id="{592F87BF-C9DD-48D2-A3D0-B6D9D4FAF3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5205413"/>
              <a:ext cx="1588" cy="112713"/>
            </a:xfrm>
            <a:custGeom>
              <a:avLst/>
              <a:gdLst/>
              <a:ahLst/>
              <a:cxnLst>
                <a:cxn ang="0">
                  <a:pos x="1" y="562"/>
                </a:cxn>
                <a:cxn ang="0">
                  <a:pos x="1" y="562"/>
                </a:cxn>
                <a:cxn ang="0">
                  <a:pos x="0" y="562"/>
                </a:cxn>
                <a:cxn ang="0">
                  <a:pos x="0" y="562"/>
                </a:cxn>
                <a:cxn ang="0">
                  <a:pos x="1" y="56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62">
                  <a:moveTo>
                    <a:pt x="1" y="562"/>
                  </a:moveTo>
                  <a:lnTo>
                    <a:pt x="1" y="562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6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709">
              <a:extLst>
                <a:ext uri="{FF2B5EF4-FFF2-40B4-BE49-F238E27FC236}">
                  <a16:creationId xmlns:a16="http://schemas.microsoft.com/office/drawing/2014/main" id="{688F9550-A81C-4466-876B-DC948313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5318125"/>
              <a:ext cx="1588" cy="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710">
              <a:extLst>
                <a:ext uri="{FF2B5EF4-FFF2-40B4-BE49-F238E27FC236}">
                  <a16:creationId xmlns:a16="http://schemas.microsoft.com/office/drawing/2014/main" id="{BD486BAD-DA13-4C3E-8C48-AB2EFB46B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520541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711">
              <a:extLst>
                <a:ext uri="{FF2B5EF4-FFF2-40B4-BE49-F238E27FC236}">
                  <a16:creationId xmlns:a16="http://schemas.microsoft.com/office/drawing/2014/main" id="{B7CDCD28-F24A-4FDD-975B-4933BB9F62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6026" y="5205413"/>
              <a:ext cx="1588" cy="112713"/>
            </a:xfrm>
            <a:custGeom>
              <a:avLst/>
              <a:gdLst/>
              <a:ahLst/>
              <a:cxnLst>
                <a:cxn ang="0">
                  <a:pos x="4" y="561"/>
                </a:cxn>
                <a:cxn ang="0">
                  <a:pos x="4" y="561"/>
                </a:cxn>
                <a:cxn ang="0">
                  <a:pos x="0" y="561"/>
                </a:cxn>
                <a:cxn ang="0">
                  <a:pos x="0" y="561"/>
                </a:cxn>
                <a:cxn ang="0">
                  <a:pos x="4" y="562"/>
                </a:cxn>
                <a:cxn ang="0">
                  <a:pos x="4" y="561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562">
                  <a:moveTo>
                    <a:pt x="4" y="561"/>
                  </a:moveTo>
                  <a:lnTo>
                    <a:pt x="4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4" y="562"/>
                  </a:lnTo>
                  <a:lnTo>
                    <a:pt x="4" y="56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712">
              <a:extLst>
                <a:ext uri="{FF2B5EF4-FFF2-40B4-BE49-F238E27FC236}">
                  <a16:creationId xmlns:a16="http://schemas.microsoft.com/office/drawing/2014/main" id="{D0A268DB-7732-4939-A50E-840DFC0B7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316538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713">
              <a:extLst>
                <a:ext uri="{FF2B5EF4-FFF2-40B4-BE49-F238E27FC236}">
                  <a16:creationId xmlns:a16="http://schemas.microsoft.com/office/drawing/2014/main" id="{6EA2A2BC-2D14-494E-8E75-97E9B47D1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6" y="5205413"/>
              <a:ext cx="1588" cy="1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714">
              <a:extLst>
                <a:ext uri="{FF2B5EF4-FFF2-40B4-BE49-F238E27FC236}">
                  <a16:creationId xmlns:a16="http://schemas.microsoft.com/office/drawing/2014/main" id="{284D8700-AA9A-4F6A-A309-C2B7A239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715">
              <a:extLst>
                <a:ext uri="{FF2B5EF4-FFF2-40B4-BE49-F238E27FC236}">
                  <a16:creationId xmlns:a16="http://schemas.microsoft.com/office/drawing/2014/main" id="{370FB773-BD94-4A32-9891-53A166A3F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5205413"/>
              <a:ext cx="60325" cy="112713"/>
            </a:xfrm>
            <a:custGeom>
              <a:avLst/>
              <a:gdLst/>
              <a:ahLst/>
              <a:cxnLst>
                <a:cxn ang="0">
                  <a:pos x="281" y="0"/>
                </a:cxn>
                <a:cxn ang="0">
                  <a:pos x="252" y="1"/>
                </a:cxn>
                <a:cxn ang="0">
                  <a:pos x="224" y="5"/>
                </a:cxn>
                <a:cxn ang="0">
                  <a:pos x="197" y="13"/>
                </a:cxn>
                <a:cxn ang="0">
                  <a:pos x="171" y="22"/>
                </a:cxn>
                <a:cxn ang="0">
                  <a:pos x="147" y="34"/>
                </a:cxn>
                <a:cxn ang="0">
                  <a:pos x="124" y="48"/>
                </a:cxn>
                <a:cxn ang="0">
                  <a:pos x="102" y="64"/>
                </a:cxn>
                <a:cxn ang="0">
                  <a:pos x="82" y="83"/>
                </a:cxn>
                <a:cxn ang="0">
                  <a:pos x="64" y="102"/>
                </a:cxn>
                <a:cxn ang="0">
                  <a:pos x="48" y="124"/>
                </a:cxn>
                <a:cxn ang="0">
                  <a:pos x="33" y="147"/>
                </a:cxn>
                <a:cxn ang="0">
                  <a:pos x="22" y="171"/>
                </a:cxn>
                <a:cxn ang="0">
                  <a:pos x="13" y="197"/>
                </a:cxn>
                <a:cxn ang="0">
                  <a:pos x="6" y="224"/>
                </a:cxn>
                <a:cxn ang="0">
                  <a:pos x="1" y="253"/>
                </a:cxn>
                <a:cxn ang="0">
                  <a:pos x="0" y="281"/>
                </a:cxn>
                <a:cxn ang="0">
                  <a:pos x="0" y="295"/>
                </a:cxn>
                <a:cxn ang="0">
                  <a:pos x="3" y="324"/>
                </a:cxn>
                <a:cxn ang="0">
                  <a:pos x="9" y="352"/>
                </a:cxn>
                <a:cxn ang="0">
                  <a:pos x="17" y="377"/>
                </a:cxn>
                <a:cxn ang="0">
                  <a:pos x="27" y="403"/>
                </a:cxn>
                <a:cxn ang="0">
                  <a:pos x="41" y="427"/>
                </a:cxn>
                <a:cxn ang="0">
                  <a:pos x="56" y="449"/>
                </a:cxn>
                <a:cxn ang="0">
                  <a:pos x="72" y="470"/>
                </a:cxn>
                <a:cxn ang="0">
                  <a:pos x="92" y="489"/>
                </a:cxn>
                <a:cxn ang="0">
                  <a:pos x="113" y="506"/>
                </a:cxn>
                <a:cxn ang="0">
                  <a:pos x="135" y="522"/>
                </a:cxn>
                <a:cxn ang="0">
                  <a:pos x="159" y="534"/>
                </a:cxn>
                <a:cxn ang="0">
                  <a:pos x="184" y="544"/>
                </a:cxn>
                <a:cxn ang="0">
                  <a:pos x="211" y="553"/>
                </a:cxn>
                <a:cxn ang="0">
                  <a:pos x="238" y="559"/>
                </a:cxn>
                <a:cxn ang="0">
                  <a:pos x="266" y="562"/>
                </a:cxn>
                <a:cxn ang="0">
                  <a:pos x="281" y="562"/>
                </a:cxn>
                <a:cxn ang="0">
                  <a:pos x="282" y="562"/>
                </a:cxn>
                <a:cxn ang="0">
                  <a:pos x="299" y="561"/>
                </a:cxn>
                <a:cxn ang="0">
                  <a:pos x="299" y="561"/>
                </a:cxn>
                <a:cxn ang="0">
                  <a:pos x="303" y="561"/>
                </a:cxn>
                <a:cxn ang="0">
                  <a:pos x="303" y="505"/>
                </a:cxn>
                <a:cxn ang="0">
                  <a:pos x="281" y="506"/>
                </a:cxn>
                <a:cxn ang="0">
                  <a:pos x="235" y="502"/>
                </a:cxn>
                <a:cxn ang="0">
                  <a:pos x="193" y="489"/>
                </a:cxn>
                <a:cxn ang="0">
                  <a:pos x="155" y="468"/>
                </a:cxn>
                <a:cxn ang="0">
                  <a:pos x="122" y="440"/>
                </a:cxn>
                <a:cxn ang="0">
                  <a:pos x="94" y="407"/>
                </a:cxn>
                <a:cxn ang="0">
                  <a:pos x="74" y="368"/>
                </a:cxn>
                <a:cxn ang="0">
                  <a:pos x="60" y="326"/>
                </a:cxn>
                <a:cxn ang="0">
                  <a:pos x="56" y="281"/>
                </a:cxn>
                <a:cxn ang="0">
                  <a:pos x="57" y="258"/>
                </a:cxn>
                <a:cxn ang="0">
                  <a:pos x="65" y="214"/>
                </a:cxn>
                <a:cxn ang="0">
                  <a:pos x="83" y="173"/>
                </a:cxn>
                <a:cxn ang="0">
                  <a:pos x="106" y="137"/>
                </a:cxn>
                <a:cxn ang="0">
                  <a:pos x="137" y="107"/>
                </a:cxn>
                <a:cxn ang="0">
                  <a:pos x="173" y="83"/>
                </a:cxn>
                <a:cxn ang="0">
                  <a:pos x="214" y="66"/>
                </a:cxn>
                <a:cxn ang="0">
                  <a:pos x="258" y="57"/>
                </a:cxn>
                <a:cxn ang="0">
                  <a:pos x="281" y="56"/>
                </a:cxn>
                <a:cxn ang="0">
                  <a:pos x="303" y="1"/>
                </a:cxn>
                <a:cxn ang="0">
                  <a:pos x="299" y="0"/>
                </a:cxn>
                <a:cxn ang="0">
                  <a:pos x="299" y="0"/>
                </a:cxn>
                <a:cxn ang="0">
                  <a:pos x="282" y="0"/>
                </a:cxn>
                <a:cxn ang="0">
                  <a:pos x="281" y="0"/>
                </a:cxn>
              </a:cxnLst>
              <a:rect l="0" t="0" r="r" b="b"/>
              <a:pathLst>
                <a:path w="303" h="562">
                  <a:moveTo>
                    <a:pt x="281" y="0"/>
                  </a:moveTo>
                  <a:lnTo>
                    <a:pt x="281" y="0"/>
                  </a:lnTo>
                  <a:lnTo>
                    <a:pt x="266" y="0"/>
                  </a:lnTo>
                  <a:lnTo>
                    <a:pt x="252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1" y="9"/>
                  </a:lnTo>
                  <a:lnTo>
                    <a:pt x="197" y="13"/>
                  </a:lnTo>
                  <a:lnTo>
                    <a:pt x="184" y="17"/>
                  </a:lnTo>
                  <a:lnTo>
                    <a:pt x="171" y="22"/>
                  </a:lnTo>
                  <a:lnTo>
                    <a:pt x="159" y="28"/>
                  </a:lnTo>
                  <a:lnTo>
                    <a:pt x="147" y="34"/>
                  </a:lnTo>
                  <a:lnTo>
                    <a:pt x="135" y="41"/>
                  </a:lnTo>
                  <a:lnTo>
                    <a:pt x="124" y="48"/>
                  </a:lnTo>
                  <a:lnTo>
                    <a:pt x="113" y="56"/>
                  </a:lnTo>
                  <a:lnTo>
                    <a:pt x="102" y="64"/>
                  </a:lnTo>
                  <a:lnTo>
                    <a:pt x="92" y="73"/>
                  </a:lnTo>
                  <a:lnTo>
                    <a:pt x="82" y="83"/>
                  </a:lnTo>
                  <a:lnTo>
                    <a:pt x="72" y="92"/>
                  </a:lnTo>
                  <a:lnTo>
                    <a:pt x="64" y="102"/>
                  </a:lnTo>
                  <a:lnTo>
                    <a:pt x="56" y="113"/>
                  </a:lnTo>
                  <a:lnTo>
                    <a:pt x="48" y="124"/>
                  </a:lnTo>
                  <a:lnTo>
                    <a:pt x="41" y="135"/>
                  </a:lnTo>
                  <a:lnTo>
                    <a:pt x="33" y="147"/>
                  </a:lnTo>
                  <a:lnTo>
                    <a:pt x="27" y="159"/>
                  </a:lnTo>
                  <a:lnTo>
                    <a:pt x="22" y="171"/>
                  </a:lnTo>
                  <a:lnTo>
                    <a:pt x="17" y="185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4"/>
                  </a:lnTo>
                  <a:lnTo>
                    <a:pt x="3" y="238"/>
                  </a:lnTo>
                  <a:lnTo>
                    <a:pt x="1" y="253"/>
                  </a:lnTo>
                  <a:lnTo>
                    <a:pt x="0" y="266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95"/>
                  </a:lnTo>
                  <a:lnTo>
                    <a:pt x="1" y="309"/>
                  </a:lnTo>
                  <a:lnTo>
                    <a:pt x="3" y="324"/>
                  </a:lnTo>
                  <a:lnTo>
                    <a:pt x="6" y="337"/>
                  </a:lnTo>
                  <a:lnTo>
                    <a:pt x="9" y="352"/>
                  </a:lnTo>
                  <a:lnTo>
                    <a:pt x="13" y="364"/>
                  </a:lnTo>
                  <a:lnTo>
                    <a:pt x="17" y="377"/>
                  </a:lnTo>
                  <a:lnTo>
                    <a:pt x="22" y="391"/>
                  </a:lnTo>
                  <a:lnTo>
                    <a:pt x="27" y="403"/>
                  </a:lnTo>
                  <a:lnTo>
                    <a:pt x="33" y="414"/>
                  </a:lnTo>
                  <a:lnTo>
                    <a:pt x="41" y="427"/>
                  </a:lnTo>
                  <a:lnTo>
                    <a:pt x="48" y="438"/>
                  </a:lnTo>
                  <a:lnTo>
                    <a:pt x="56" y="449"/>
                  </a:lnTo>
                  <a:lnTo>
                    <a:pt x="64" y="460"/>
                  </a:lnTo>
                  <a:lnTo>
                    <a:pt x="72" y="470"/>
                  </a:lnTo>
                  <a:lnTo>
                    <a:pt x="82" y="479"/>
                  </a:lnTo>
                  <a:lnTo>
                    <a:pt x="92" y="489"/>
                  </a:lnTo>
                  <a:lnTo>
                    <a:pt x="102" y="498"/>
                  </a:lnTo>
                  <a:lnTo>
                    <a:pt x="113" y="506"/>
                  </a:lnTo>
                  <a:lnTo>
                    <a:pt x="124" y="513"/>
                  </a:lnTo>
                  <a:lnTo>
                    <a:pt x="135" y="522"/>
                  </a:lnTo>
                  <a:lnTo>
                    <a:pt x="147" y="528"/>
                  </a:lnTo>
                  <a:lnTo>
                    <a:pt x="159" y="534"/>
                  </a:lnTo>
                  <a:lnTo>
                    <a:pt x="171" y="540"/>
                  </a:lnTo>
                  <a:lnTo>
                    <a:pt x="184" y="544"/>
                  </a:lnTo>
                  <a:lnTo>
                    <a:pt x="197" y="549"/>
                  </a:lnTo>
                  <a:lnTo>
                    <a:pt x="211" y="553"/>
                  </a:lnTo>
                  <a:lnTo>
                    <a:pt x="224" y="556"/>
                  </a:lnTo>
                  <a:lnTo>
                    <a:pt x="238" y="559"/>
                  </a:lnTo>
                  <a:lnTo>
                    <a:pt x="252" y="561"/>
                  </a:lnTo>
                  <a:lnTo>
                    <a:pt x="266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1" y="562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299" y="561"/>
                  </a:lnTo>
                  <a:lnTo>
                    <a:pt x="303" y="561"/>
                  </a:lnTo>
                  <a:lnTo>
                    <a:pt x="303" y="505"/>
                  </a:lnTo>
                  <a:lnTo>
                    <a:pt x="303" y="505"/>
                  </a:lnTo>
                  <a:lnTo>
                    <a:pt x="281" y="506"/>
                  </a:lnTo>
                  <a:lnTo>
                    <a:pt x="281" y="506"/>
                  </a:lnTo>
                  <a:lnTo>
                    <a:pt x="258" y="505"/>
                  </a:lnTo>
                  <a:lnTo>
                    <a:pt x="235" y="502"/>
                  </a:lnTo>
                  <a:lnTo>
                    <a:pt x="214" y="496"/>
                  </a:lnTo>
                  <a:lnTo>
                    <a:pt x="193" y="489"/>
                  </a:lnTo>
                  <a:lnTo>
                    <a:pt x="173" y="479"/>
                  </a:lnTo>
                  <a:lnTo>
                    <a:pt x="155" y="468"/>
                  </a:lnTo>
                  <a:lnTo>
                    <a:pt x="137" y="455"/>
                  </a:lnTo>
                  <a:lnTo>
                    <a:pt x="122" y="440"/>
                  </a:lnTo>
                  <a:lnTo>
                    <a:pt x="106" y="424"/>
                  </a:lnTo>
                  <a:lnTo>
                    <a:pt x="94" y="407"/>
                  </a:lnTo>
                  <a:lnTo>
                    <a:pt x="83" y="389"/>
                  </a:lnTo>
                  <a:lnTo>
                    <a:pt x="74" y="368"/>
                  </a:lnTo>
                  <a:lnTo>
                    <a:pt x="65" y="348"/>
                  </a:lnTo>
                  <a:lnTo>
                    <a:pt x="60" y="326"/>
                  </a:lnTo>
                  <a:lnTo>
                    <a:pt x="57" y="304"/>
                  </a:lnTo>
                  <a:lnTo>
                    <a:pt x="56" y="281"/>
                  </a:lnTo>
                  <a:lnTo>
                    <a:pt x="56" y="281"/>
                  </a:lnTo>
                  <a:lnTo>
                    <a:pt x="57" y="258"/>
                  </a:lnTo>
                  <a:lnTo>
                    <a:pt x="60" y="235"/>
                  </a:lnTo>
                  <a:lnTo>
                    <a:pt x="65" y="214"/>
                  </a:lnTo>
                  <a:lnTo>
                    <a:pt x="74" y="193"/>
                  </a:lnTo>
                  <a:lnTo>
                    <a:pt x="83" y="173"/>
                  </a:lnTo>
                  <a:lnTo>
                    <a:pt x="94" y="155"/>
                  </a:lnTo>
                  <a:lnTo>
                    <a:pt x="106" y="137"/>
                  </a:lnTo>
                  <a:lnTo>
                    <a:pt x="122" y="122"/>
                  </a:lnTo>
                  <a:lnTo>
                    <a:pt x="137" y="107"/>
                  </a:lnTo>
                  <a:lnTo>
                    <a:pt x="155" y="94"/>
                  </a:lnTo>
                  <a:lnTo>
                    <a:pt x="173" y="83"/>
                  </a:lnTo>
                  <a:lnTo>
                    <a:pt x="193" y="73"/>
                  </a:lnTo>
                  <a:lnTo>
                    <a:pt x="214" y="66"/>
                  </a:lnTo>
                  <a:lnTo>
                    <a:pt x="235" y="60"/>
                  </a:lnTo>
                  <a:lnTo>
                    <a:pt x="258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303" y="57"/>
                  </a:lnTo>
                  <a:lnTo>
                    <a:pt x="303" y="1"/>
                  </a:lnTo>
                  <a:lnTo>
                    <a:pt x="303" y="1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1" y="0"/>
                  </a:lnTo>
                  <a:lnTo>
                    <a:pt x="28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716">
              <a:extLst>
                <a:ext uri="{FF2B5EF4-FFF2-40B4-BE49-F238E27FC236}">
                  <a16:creationId xmlns:a16="http://schemas.microsoft.com/office/drawing/2014/main" id="{91E68B66-EA9F-457F-9BA8-5FF3A99D1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DBA75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717">
              <a:extLst>
                <a:ext uri="{FF2B5EF4-FFF2-40B4-BE49-F238E27FC236}">
                  <a16:creationId xmlns:a16="http://schemas.microsoft.com/office/drawing/2014/main" id="{B16EDDBC-05CF-4F86-9052-933BE9784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5216525"/>
              <a:ext cx="49213" cy="9048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79" y="4"/>
                </a:cxn>
                <a:cxn ang="0">
                  <a:pos x="137" y="17"/>
                </a:cxn>
                <a:cxn ang="0">
                  <a:pos x="99" y="38"/>
                </a:cxn>
                <a:cxn ang="0">
                  <a:pos x="66" y="66"/>
                </a:cxn>
                <a:cxn ang="0">
                  <a:pos x="38" y="99"/>
                </a:cxn>
                <a:cxn ang="0">
                  <a:pos x="18" y="137"/>
                </a:cxn>
                <a:cxn ang="0">
                  <a:pos x="4" y="179"/>
                </a:cxn>
                <a:cxn ang="0">
                  <a:pos x="0" y="225"/>
                </a:cxn>
                <a:cxn ang="0">
                  <a:pos x="1" y="248"/>
                </a:cxn>
                <a:cxn ang="0">
                  <a:pos x="9" y="292"/>
                </a:cxn>
                <a:cxn ang="0">
                  <a:pos x="27" y="333"/>
                </a:cxn>
                <a:cxn ang="0">
                  <a:pos x="50" y="368"/>
                </a:cxn>
                <a:cxn ang="0">
                  <a:pos x="81" y="399"/>
                </a:cxn>
                <a:cxn ang="0">
                  <a:pos x="117" y="423"/>
                </a:cxn>
                <a:cxn ang="0">
                  <a:pos x="158" y="440"/>
                </a:cxn>
                <a:cxn ang="0">
                  <a:pos x="202" y="449"/>
                </a:cxn>
                <a:cxn ang="0">
                  <a:pos x="225" y="450"/>
                </a:cxn>
                <a:cxn ang="0">
                  <a:pos x="247" y="433"/>
                </a:cxn>
                <a:cxn ang="0">
                  <a:pos x="235" y="434"/>
                </a:cxn>
                <a:cxn ang="0">
                  <a:pos x="213" y="432"/>
                </a:cxn>
                <a:cxn ang="0">
                  <a:pos x="173" y="423"/>
                </a:cxn>
                <a:cxn ang="0">
                  <a:pos x="136" y="408"/>
                </a:cxn>
                <a:cxn ang="0">
                  <a:pos x="102" y="385"/>
                </a:cxn>
                <a:cxn ang="0">
                  <a:pos x="74" y="357"/>
                </a:cxn>
                <a:cxn ang="0">
                  <a:pos x="52" y="324"/>
                </a:cxn>
                <a:cxn ang="0">
                  <a:pos x="36" y="287"/>
                </a:cxn>
                <a:cxn ang="0">
                  <a:pos x="28" y="246"/>
                </a:cxn>
                <a:cxn ang="0">
                  <a:pos x="27" y="225"/>
                </a:cxn>
                <a:cxn ang="0">
                  <a:pos x="31" y="183"/>
                </a:cxn>
                <a:cxn ang="0">
                  <a:pos x="43" y="144"/>
                </a:cxn>
                <a:cxn ang="0">
                  <a:pos x="62" y="108"/>
                </a:cxn>
                <a:cxn ang="0">
                  <a:pos x="88" y="78"/>
                </a:cxn>
                <a:cxn ang="0">
                  <a:pos x="119" y="53"/>
                </a:cxn>
                <a:cxn ang="0">
                  <a:pos x="154" y="33"/>
                </a:cxn>
                <a:cxn ang="0">
                  <a:pos x="193" y="21"/>
                </a:cxn>
                <a:cxn ang="0">
                  <a:pos x="235" y="16"/>
                </a:cxn>
                <a:cxn ang="0">
                  <a:pos x="247" y="17"/>
                </a:cxn>
                <a:cxn ang="0">
                  <a:pos x="247" y="1"/>
                </a:cxn>
              </a:cxnLst>
              <a:rect l="0" t="0" r="r" b="b"/>
              <a:pathLst>
                <a:path w="247" h="450">
                  <a:moveTo>
                    <a:pt x="225" y="0"/>
                  </a:moveTo>
                  <a:lnTo>
                    <a:pt x="225" y="0"/>
                  </a:lnTo>
                  <a:lnTo>
                    <a:pt x="202" y="1"/>
                  </a:lnTo>
                  <a:lnTo>
                    <a:pt x="179" y="4"/>
                  </a:lnTo>
                  <a:lnTo>
                    <a:pt x="158" y="10"/>
                  </a:lnTo>
                  <a:lnTo>
                    <a:pt x="137" y="17"/>
                  </a:lnTo>
                  <a:lnTo>
                    <a:pt x="117" y="27"/>
                  </a:lnTo>
                  <a:lnTo>
                    <a:pt x="99" y="38"/>
                  </a:lnTo>
                  <a:lnTo>
                    <a:pt x="81" y="51"/>
                  </a:lnTo>
                  <a:lnTo>
                    <a:pt x="66" y="66"/>
                  </a:lnTo>
                  <a:lnTo>
                    <a:pt x="50" y="81"/>
                  </a:lnTo>
                  <a:lnTo>
                    <a:pt x="38" y="99"/>
                  </a:lnTo>
                  <a:lnTo>
                    <a:pt x="27" y="117"/>
                  </a:lnTo>
                  <a:lnTo>
                    <a:pt x="18" y="137"/>
                  </a:lnTo>
                  <a:lnTo>
                    <a:pt x="9" y="158"/>
                  </a:lnTo>
                  <a:lnTo>
                    <a:pt x="4" y="179"/>
                  </a:lnTo>
                  <a:lnTo>
                    <a:pt x="1" y="20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1" y="248"/>
                  </a:lnTo>
                  <a:lnTo>
                    <a:pt x="4" y="270"/>
                  </a:lnTo>
                  <a:lnTo>
                    <a:pt x="9" y="292"/>
                  </a:lnTo>
                  <a:lnTo>
                    <a:pt x="18" y="312"/>
                  </a:lnTo>
                  <a:lnTo>
                    <a:pt x="27" y="333"/>
                  </a:lnTo>
                  <a:lnTo>
                    <a:pt x="38" y="351"/>
                  </a:lnTo>
                  <a:lnTo>
                    <a:pt x="50" y="368"/>
                  </a:lnTo>
                  <a:lnTo>
                    <a:pt x="66" y="384"/>
                  </a:lnTo>
                  <a:lnTo>
                    <a:pt x="81" y="399"/>
                  </a:lnTo>
                  <a:lnTo>
                    <a:pt x="99" y="412"/>
                  </a:lnTo>
                  <a:lnTo>
                    <a:pt x="117" y="423"/>
                  </a:lnTo>
                  <a:lnTo>
                    <a:pt x="137" y="433"/>
                  </a:lnTo>
                  <a:lnTo>
                    <a:pt x="158" y="440"/>
                  </a:lnTo>
                  <a:lnTo>
                    <a:pt x="179" y="446"/>
                  </a:lnTo>
                  <a:lnTo>
                    <a:pt x="202" y="449"/>
                  </a:lnTo>
                  <a:lnTo>
                    <a:pt x="225" y="450"/>
                  </a:lnTo>
                  <a:lnTo>
                    <a:pt x="225" y="450"/>
                  </a:lnTo>
                  <a:lnTo>
                    <a:pt x="247" y="449"/>
                  </a:lnTo>
                  <a:lnTo>
                    <a:pt x="247" y="433"/>
                  </a:lnTo>
                  <a:lnTo>
                    <a:pt x="247" y="433"/>
                  </a:lnTo>
                  <a:lnTo>
                    <a:pt x="235" y="434"/>
                  </a:lnTo>
                  <a:lnTo>
                    <a:pt x="235" y="434"/>
                  </a:lnTo>
                  <a:lnTo>
                    <a:pt x="213" y="432"/>
                  </a:lnTo>
                  <a:lnTo>
                    <a:pt x="193" y="429"/>
                  </a:lnTo>
                  <a:lnTo>
                    <a:pt x="173" y="423"/>
                  </a:lnTo>
                  <a:lnTo>
                    <a:pt x="154" y="417"/>
                  </a:lnTo>
                  <a:lnTo>
                    <a:pt x="136" y="408"/>
                  </a:lnTo>
                  <a:lnTo>
                    <a:pt x="119" y="398"/>
                  </a:lnTo>
                  <a:lnTo>
                    <a:pt x="102" y="385"/>
                  </a:lnTo>
                  <a:lnTo>
                    <a:pt x="88" y="372"/>
                  </a:lnTo>
                  <a:lnTo>
                    <a:pt x="74" y="357"/>
                  </a:lnTo>
                  <a:lnTo>
                    <a:pt x="62" y="341"/>
                  </a:lnTo>
                  <a:lnTo>
                    <a:pt x="52" y="324"/>
                  </a:lnTo>
                  <a:lnTo>
                    <a:pt x="43" y="306"/>
                  </a:lnTo>
                  <a:lnTo>
                    <a:pt x="36" y="287"/>
                  </a:lnTo>
                  <a:lnTo>
                    <a:pt x="31" y="267"/>
                  </a:lnTo>
                  <a:lnTo>
                    <a:pt x="28" y="246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8" y="204"/>
                  </a:lnTo>
                  <a:lnTo>
                    <a:pt x="31" y="183"/>
                  </a:lnTo>
                  <a:lnTo>
                    <a:pt x="36" y="163"/>
                  </a:lnTo>
                  <a:lnTo>
                    <a:pt x="43" y="144"/>
                  </a:lnTo>
                  <a:lnTo>
                    <a:pt x="52" y="126"/>
                  </a:lnTo>
                  <a:lnTo>
                    <a:pt x="62" y="108"/>
                  </a:lnTo>
                  <a:lnTo>
                    <a:pt x="74" y="93"/>
                  </a:lnTo>
                  <a:lnTo>
                    <a:pt x="88" y="78"/>
                  </a:lnTo>
                  <a:lnTo>
                    <a:pt x="102" y="64"/>
                  </a:lnTo>
                  <a:lnTo>
                    <a:pt x="119" y="53"/>
                  </a:lnTo>
                  <a:lnTo>
                    <a:pt x="136" y="42"/>
                  </a:lnTo>
                  <a:lnTo>
                    <a:pt x="154" y="33"/>
                  </a:lnTo>
                  <a:lnTo>
                    <a:pt x="173" y="26"/>
                  </a:lnTo>
                  <a:lnTo>
                    <a:pt x="193" y="21"/>
                  </a:lnTo>
                  <a:lnTo>
                    <a:pt x="213" y="17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47" y="17"/>
                  </a:lnTo>
                  <a:lnTo>
                    <a:pt x="247" y="1"/>
                  </a:lnTo>
                  <a:lnTo>
                    <a:pt x="247" y="1"/>
                  </a:lnTo>
                  <a:lnTo>
                    <a:pt x="225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718">
              <a:extLst>
                <a:ext uri="{FF2B5EF4-FFF2-40B4-BE49-F238E27FC236}">
                  <a16:creationId xmlns:a16="http://schemas.microsoft.com/office/drawing/2014/main" id="{75EE8E6B-25D8-457F-AAC1-E385E413B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719">
              <a:extLst>
                <a:ext uri="{FF2B5EF4-FFF2-40B4-BE49-F238E27FC236}">
                  <a16:creationId xmlns:a16="http://schemas.microsoft.com/office/drawing/2014/main" id="{30102FE1-0844-446E-953A-813365266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5219700"/>
              <a:ext cx="44450" cy="84138"/>
            </a:xfrm>
            <a:custGeom>
              <a:avLst/>
              <a:gdLst/>
              <a:ahLst/>
              <a:cxnLst>
                <a:cxn ang="0">
                  <a:pos x="208" y="0"/>
                </a:cxn>
                <a:cxn ang="0">
                  <a:pos x="208" y="0"/>
                </a:cxn>
                <a:cxn ang="0">
                  <a:pos x="186" y="1"/>
                </a:cxn>
                <a:cxn ang="0">
                  <a:pos x="166" y="5"/>
                </a:cxn>
                <a:cxn ang="0">
                  <a:pos x="146" y="10"/>
                </a:cxn>
                <a:cxn ang="0">
                  <a:pos x="127" y="17"/>
                </a:cxn>
                <a:cxn ang="0">
                  <a:pos x="109" y="26"/>
                </a:cxn>
                <a:cxn ang="0">
                  <a:pos x="92" y="37"/>
                </a:cxn>
                <a:cxn ang="0">
                  <a:pos x="75" y="48"/>
                </a:cxn>
                <a:cxn ang="0">
                  <a:pos x="61" y="62"/>
                </a:cxn>
                <a:cxn ang="0">
                  <a:pos x="47" y="77"/>
                </a:cxn>
                <a:cxn ang="0">
                  <a:pos x="35" y="92"/>
                </a:cxn>
                <a:cxn ang="0">
                  <a:pos x="25" y="110"/>
                </a:cxn>
                <a:cxn ang="0">
                  <a:pos x="16" y="128"/>
                </a:cxn>
                <a:cxn ang="0">
                  <a:pos x="9" y="147"/>
                </a:cxn>
                <a:cxn ang="0">
                  <a:pos x="4" y="167"/>
                </a:cxn>
                <a:cxn ang="0">
                  <a:pos x="1" y="188"/>
                </a:cxn>
                <a:cxn ang="0">
                  <a:pos x="0" y="209"/>
                </a:cxn>
                <a:cxn ang="0">
                  <a:pos x="0" y="209"/>
                </a:cxn>
                <a:cxn ang="0">
                  <a:pos x="1" y="230"/>
                </a:cxn>
                <a:cxn ang="0">
                  <a:pos x="4" y="251"/>
                </a:cxn>
                <a:cxn ang="0">
                  <a:pos x="9" y="271"/>
                </a:cxn>
                <a:cxn ang="0">
                  <a:pos x="16" y="290"/>
                </a:cxn>
                <a:cxn ang="0">
                  <a:pos x="25" y="308"/>
                </a:cxn>
                <a:cxn ang="0">
                  <a:pos x="35" y="325"/>
                </a:cxn>
                <a:cxn ang="0">
                  <a:pos x="47" y="341"/>
                </a:cxn>
                <a:cxn ang="0">
                  <a:pos x="61" y="356"/>
                </a:cxn>
                <a:cxn ang="0">
                  <a:pos x="75" y="369"/>
                </a:cxn>
                <a:cxn ang="0">
                  <a:pos x="92" y="382"/>
                </a:cxn>
                <a:cxn ang="0">
                  <a:pos x="109" y="392"/>
                </a:cxn>
                <a:cxn ang="0">
                  <a:pos x="127" y="401"/>
                </a:cxn>
                <a:cxn ang="0">
                  <a:pos x="146" y="407"/>
                </a:cxn>
                <a:cxn ang="0">
                  <a:pos x="166" y="413"/>
                </a:cxn>
                <a:cxn ang="0">
                  <a:pos x="186" y="416"/>
                </a:cxn>
                <a:cxn ang="0">
                  <a:pos x="208" y="418"/>
                </a:cxn>
                <a:cxn ang="0">
                  <a:pos x="208" y="418"/>
                </a:cxn>
                <a:cxn ang="0">
                  <a:pos x="220" y="417"/>
                </a:cxn>
                <a:cxn ang="0">
                  <a:pos x="220" y="1"/>
                </a:cxn>
                <a:cxn ang="0">
                  <a:pos x="220" y="1"/>
                </a:cxn>
                <a:cxn ang="0">
                  <a:pos x="208" y="0"/>
                </a:cxn>
              </a:cxnLst>
              <a:rect l="0" t="0" r="r" b="b"/>
              <a:pathLst>
                <a:path w="220" h="418">
                  <a:moveTo>
                    <a:pt x="208" y="0"/>
                  </a:moveTo>
                  <a:lnTo>
                    <a:pt x="208" y="0"/>
                  </a:lnTo>
                  <a:lnTo>
                    <a:pt x="186" y="1"/>
                  </a:lnTo>
                  <a:lnTo>
                    <a:pt x="166" y="5"/>
                  </a:lnTo>
                  <a:lnTo>
                    <a:pt x="146" y="10"/>
                  </a:lnTo>
                  <a:lnTo>
                    <a:pt x="127" y="17"/>
                  </a:lnTo>
                  <a:lnTo>
                    <a:pt x="109" y="26"/>
                  </a:lnTo>
                  <a:lnTo>
                    <a:pt x="92" y="37"/>
                  </a:lnTo>
                  <a:lnTo>
                    <a:pt x="75" y="48"/>
                  </a:lnTo>
                  <a:lnTo>
                    <a:pt x="61" y="62"/>
                  </a:lnTo>
                  <a:lnTo>
                    <a:pt x="47" y="77"/>
                  </a:lnTo>
                  <a:lnTo>
                    <a:pt x="35" y="92"/>
                  </a:lnTo>
                  <a:lnTo>
                    <a:pt x="25" y="110"/>
                  </a:lnTo>
                  <a:lnTo>
                    <a:pt x="16" y="128"/>
                  </a:lnTo>
                  <a:lnTo>
                    <a:pt x="9" y="147"/>
                  </a:lnTo>
                  <a:lnTo>
                    <a:pt x="4" y="167"/>
                  </a:lnTo>
                  <a:lnTo>
                    <a:pt x="1" y="188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1" y="230"/>
                  </a:lnTo>
                  <a:lnTo>
                    <a:pt x="4" y="251"/>
                  </a:lnTo>
                  <a:lnTo>
                    <a:pt x="9" y="271"/>
                  </a:lnTo>
                  <a:lnTo>
                    <a:pt x="16" y="290"/>
                  </a:lnTo>
                  <a:lnTo>
                    <a:pt x="25" y="308"/>
                  </a:lnTo>
                  <a:lnTo>
                    <a:pt x="35" y="325"/>
                  </a:lnTo>
                  <a:lnTo>
                    <a:pt x="47" y="341"/>
                  </a:lnTo>
                  <a:lnTo>
                    <a:pt x="61" y="356"/>
                  </a:lnTo>
                  <a:lnTo>
                    <a:pt x="75" y="369"/>
                  </a:lnTo>
                  <a:lnTo>
                    <a:pt x="92" y="382"/>
                  </a:lnTo>
                  <a:lnTo>
                    <a:pt x="109" y="392"/>
                  </a:lnTo>
                  <a:lnTo>
                    <a:pt x="127" y="401"/>
                  </a:lnTo>
                  <a:lnTo>
                    <a:pt x="146" y="407"/>
                  </a:lnTo>
                  <a:lnTo>
                    <a:pt x="166" y="413"/>
                  </a:lnTo>
                  <a:lnTo>
                    <a:pt x="186" y="416"/>
                  </a:lnTo>
                  <a:lnTo>
                    <a:pt x="208" y="418"/>
                  </a:lnTo>
                  <a:lnTo>
                    <a:pt x="208" y="418"/>
                  </a:lnTo>
                  <a:lnTo>
                    <a:pt x="220" y="417"/>
                  </a:lnTo>
                  <a:lnTo>
                    <a:pt x="220" y="1"/>
                  </a:lnTo>
                  <a:lnTo>
                    <a:pt x="220" y="1"/>
                  </a:lnTo>
                  <a:lnTo>
                    <a:pt x="20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FA6DEC5-5303-443F-BAF5-0694128FF5FC}"/>
              </a:ext>
            </a:extLst>
          </p:cNvPr>
          <p:cNvSpPr txBox="1"/>
          <p:nvPr/>
        </p:nvSpPr>
        <p:spPr>
          <a:xfrm>
            <a:off x="4017465" y="5652486"/>
            <a:ext cx="13182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Wine explorers</a:t>
            </a:r>
            <a:endParaRPr lang="bs-Latn-BA" sz="1200" b="1"/>
          </a:p>
        </p:txBody>
      </p:sp>
      <p:pic>
        <p:nvPicPr>
          <p:cNvPr id="27" name="Picture 26" descr="Logo&#10;&#10;Description automatically generated with medium confidence">
            <a:extLst>
              <a:ext uri="{FF2B5EF4-FFF2-40B4-BE49-F238E27FC236}">
                <a16:creationId xmlns:a16="http://schemas.microsoft.com/office/drawing/2014/main" id="{1EAF305B-9F92-4BB3-90FA-4C61BC224A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62853" y="5550329"/>
            <a:ext cx="393353" cy="393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23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767F2-C6EE-4644-9555-55567824C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7FA272-81FF-4343-9258-0AAF03644D0D}"/>
              </a:ext>
            </a:extLst>
          </p:cNvPr>
          <p:cNvSpPr/>
          <p:nvPr/>
        </p:nvSpPr>
        <p:spPr>
          <a:xfrm>
            <a:off x="1468409" y="1346661"/>
            <a:ext cx="7331826" cy="437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300000"/>
              </a:lnSpc>
            </a:pP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45BC665-5BDD-4B15-8840-CC7D2F76DD1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062274" y="1346661"/>
            <a:ext cx="10067452" cy="5036525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3C7A1CA-2126-4472-9660-796D77E1237A}"/>
              </a:ext>
            </a:extLst>
          </p:cNvPr>
          <p:cNvSpPr txBox="1">
            <a:spLocks/>
          </p:cNvSpPr>
          <p:nvPr/>
        </p:nvSpPr>
        <p:spPr>
          <a:xfrm>
            <a:off x="847725" y="627214"/>
            <a:ext cx="10801350" cy="4697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0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600" b="1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Next LT Pro Regular" panose="020B05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0" dirty="0"/>
              <a:t>DEPLOY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BCACE9-4D79-4AE8-87D2-344F7D054282}"/>
              </a:ext>
            </a:extLst>
          </p:cNvPr>
          <p:cNvSpPr txBox="1"/>
          <p:nvPr/>
        </p:nvSpPr>
        <p:spPr>
          <a:xfrm>
            <a:off x="1062274" y="6525162"/>
            <a:ext cx="793908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Code for the app can be found in GitHub repository: </a:t>
            </a:r>
            <a:r>
              <a:rPr lang="en-US" sz="800" dirty="0">
                <a:solidFill>
                  <a:srgbClr val="0070C0"/>
                </a:solidFill>
                <a:hlinkClick r:id="rId3"/>
              </a:rPr>
              <a:t>https://github.com/LorenzoPigozzi/Business_Cases/tree/main/Case%201</a:t>
            </a:r>
            <a:endParaRPr lang="en-US" sz="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22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767F2-C6EE-4644-9555-55567824C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58206-402F-4809-BB43-18D9ED3E3E73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7FA272-81FF-4343-9258-0AAF03644D0D}"/>
              </a:ext>
            </a:extLst>
          </p:cNvPr>
          <p:cNvSpPr/>
          <p:nvPr/>
        </p:nvSpPr>
        <p:spPr>
          <a:xfrm>
            <a:off x="4454304" y="1962296"/>
            <a:ext cx="4744015" cy="2528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300000"/>
              </a:lnSpc>
            </a:pPr>
            <a:r>
              <a:rPr lang="en-US" sz="4800" b="1" dirty="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35455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98934002548100075103E+00&quot;&gt;&lt;m_msothmcolidx val=&quot;0&quot;/&gt;&lt;m_rgb r=&quot;7D&quot; g=&quot;9A&quot; b=&quot;B0&quot;/&gt;&lt;m_nBrightness endver=&quot;26206&quot; val=&quot;0&quot;/&gt;&lt;/elem&gt;&lt;elem m_fUsage=&quot;2.97392448283290011801E+00&quot;&gt;&lt;m_msothmcolidx val=&quot;0&quot;/&gt;&lt;m_rgb r=&quot;BD&quot; g=&quot;DB&quot; b=&quot;F9&quot;/&gt;&lt;m_nBrightness endver=&quot;26206&quot; val=&quot;0&quot;/&gt;&lt;/elem&gt;&lt;elem m_fUsage=&quot;2.36901732171944345851E+00&quot;&gt;&lt;m_msothmcolidx val=&quot;0&quot;/&gt;&lt;m_rgb r=&quot;0A&quot; g=&quot;3C&quot; b=&quot;6D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Custom 1">
      <a:dk1>
        <a:srgbClr val="404040"/>
      </a:dk1>
      <a:lt1>
        <a:sysClr val="window" lastClr="FFFFFF"/>
      </a:lt1>
      <a:dk2>
        <a:srgbClr val="B1CE3B"/>
      </a:dk2>
      <a:lt2>
        <a:srgbClr val="E7EEF1"/>
      </a:lt2>
      <a:accent1>
        <a:srgbClr val="6E8221"/>
      </a:accent1>
      <a:accent2>
        <a:srgbClr val="B1CE3B"/>
      </a:accent2>
      <a:accent3>
        <a:srgbClr val="C4D96D"/>
      </a:accent3>
      <a:accent4>
        <a:srgbClr val="5C666C"/>
      </a:accent4>
      <a:accent5>
        <a:srgbClr val="8F9DAF"/>
      </a:accent5>
      <a:accent6>
        <a:srgbClr val="B8C1CC"/>
      </a:accent6>
      <a:hlink>
        <a:srgbClr val="404040"/>
      </a:hlink>
      <a:folHlink>
        <a:srgbClr val="0F5BA5"/>
      </a:folHlink>
    </a:clrScheme>
    <a:fontScheme name="Custom 1">
      <a:majorFont>
        <a:latin typeface="Source Sans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Custom 1">
      <a:dk1>
        <a:srgbClr val="404040"/>
      </a:dk1>
      <a:lt1>
        <a:sysClr val="window" lastClr="FFFFFF"/>
      </a:lt1>
      <a:dk2>
        <a:srgbClr val="B1CE3B"/>
      </a:dk2>
      <a:lt2>
        <a:srgbClr val="E7EEF1"/>
      </a:lt2>
      <a:accent1>
        <a:srgbClr val="6E8221"/>
      </a:accent1>
      <a:accent2>
        <a:srgbClr val="B1CE3B"/>
      </a:accent2>
      <a:accent3>
        <a:srgbClr val="C4D96D"/>
      </a:accent3>
      <a:accent4>
        <a:srgbClr val="5C666C"/>
      </a:accent4>
      <a:accent5>
        <a:srgbClr val="8F9DAF"/>
      </a:accent5>
      <a:accent6>
        <a:srgbClr val="B8C1CC"/>
      </a:accent6>
      <a:hlink>
        <a:srgbClr val="404040"/>
      </a:hlink>
      <a:folHlink>
        <a:srgbClr val="0F5BA5"/>
      </a:folHlink>
    </a:clrScheme>
    <a:fontScheme name="Custom 1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2B49CF95F40F4BB6269BC14F4EB080" ma:contentTypeVersion="0" ma:contentTypeDescription="Create a new document." ma:contentTypeScope="" ma:versionID="834fab47024b9f0f78a69f4faa518bf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7E6000-014A-4067-8900-237E63909B58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6369CED-71E4-463D-BB23-796BBB5C42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9B22C2-2CC3-4FCE-87A6-B082D1102D61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87</TotalTime>
  <Words>514</Words>
  <Application>Microsoft Office PowerPoint</Application>
  <PresentationFormat>Widescreen</PresentationFormat>
  <Paragraphs>128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Avenir Next LT Pro</vt:lpstr>
      <vt:lpstr>AvenirNext LT Pro Regular</vt:lpstr>
      <vt:lpstr>Calibri</vt:lpstr>
      <vt:lpstr>Symbol</vt:lpstr>
      <vt:lpstr>Univers 45 Light</vt:lpstr>
      <vt:lpstr>Wingdings</vt:lpstr>
      <vt:lpstr>1_Office</vt:lpstr>
      <vt:lpstr>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Kruse Felix</dc:creator>
  <cp:keywords/>
  <dc:description/>
  <cp:lastModifiedBy>Nguyen Huy Phuc</cp:lastModifiedBy>
  <cp:revision>31</cp:revision>
  <cp:lastPrinted>2019-12-16T19:24:12Z</cp:lastPrinted>
  <dcterms:created xsi:type="dcterms:W3CDTF">2018-08-26T16:27:48Z</dcterms:created>
  <dcterms:modified xsi:type="dcterms:W3CDTF">2021-03-01T23:29:0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2B49CF95F40F4BB6269BC14F4EB080</vt:lpwstr>
  </property>
</Properties>
</file>